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2"/>
  </p:notesMasterIdLst>
  <p:sldIdLst>
    <p:sldId id="300" r:id="rId2"/>
    <p:sldId id="302" r:id="rId3"/>
    <p:sldId id="301" r:id="rId4"/>
    <p:sldId id="258" r:id="rId5"/>
    <p:sldId id="304" r:id="rId6"/>
    <p:sldId id="306" r:id="rId7"/>
    <p:sldId id="308" r:id="rId8"/>
    <p:sldId id="307" r:id="rId9"/>
    <p:sldId id="309" r:id="rId10"/>
    <p:sldId id="311" r:id="rId11"/>
    <p:sldId id="316" r:id="rId12"/>
    <p:sldId id="317" r:id="rId13"/>
    <p:sldId id="312" r:id="rId14"/>
    <p:sldId id="313" r:id="rId15"/>
    <p:sldId id="314" r:id="rId16"/>
    <p:sldId id="315" r:id="rId17"/>
    <p:sldId id="261" r:id="rId18"/>
    <p:sldId id="298" r:id="rId19"/>
    <p:sldId id="299" r:id="rId20"/>
    <p:sldId id="303"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F53ED"/>
    <a:srgbClr val="F5CE24"/>
    <a:srgbClr val="F5E33C"/>
    <a:srgbClr val="FFFFFF"/>
    <a:srgbClr val="FFFD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116"/>
    <p:restoredTop sz="83537"/>
  </p:normalViewPr>
  <p:slideViewPr>
    <p:cSldViewPr snapToGrid="0" snapToObjects="1">
      <p:cViewPr varScale="1">
        <p:scale>
          <a:sx n="106" d="100"/>
          <a:sy n="106" d="100"/>
        </p:scale>
        <p:origin x="124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779E99E-D2CD-274F-A933-9B71E03D0497}" type="datetimeFigureOut">
              <a:rPr lang="en-US" smtClean="0"/>
              <a:t>11/11/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EF886B2-D6EC-7140-8539-A6DBFCF04EBE}" type="slidenum">
              <a:rPr lang="en-US" smtClean="0"/>
              <a:t>‹#›</a:t>
            </a:fld>
            <a:endParaRPr lang="en-US"/>
          </a:p>
        </p:txBody>
      </p:sp>
    </p:spTree>
    <p:extLst>
      <p:ext uri="{BB962C8B-B14F-4D97-AF65-F5344CB8AC3E}">
        <p14:creationId xmlns:p14="http://schemas.microsoft.com/office/powerpoint/2010/main" val="2105775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3</a:t>
            </a:fld>
            <a:endParaRPr lang="en-US"/>
          </a:p>
        </p:txBody>
      </p:sp>
    </p:spTree>
    <p:extLst>
      <p:ext uri="{BB962C8B-B14F-4D97-AF65-F5344CB8AC3E}">
        <p14:creationId xmlns:p14="http://schemas.microsoft.com/office/powerpoint/2010/main" val="26686902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eople</a:t>
            </a:r>
            <a:r>
              <a:rPr lang="en-US" dirty="0"/>
              <a:t> – </a:t>
            </a:r>
          </a:p>
          <a:p>
            <a:r>
              <a:rPr lang="en-US" dirty="0"/>
              <a:t>	</a:t>
            </a:r>
            <a:r>
              <a:rPr lang="en-US" b="1" dirty="0"/>
              <a:t>Mission Statement </a:t>
            </a:r>
            <a:r>
              <a:rPr lang="en-US" dirty="0"/>
              <a:t>– Define a Mission Statement for people to work towards</a:t>
            </a:r>
          </a:p>
          <a:p>
            <a:r>
              <a:rPr lang="en-US" dirty="0"/>
              <a:t>	</a:t>
            </a:r>
            <a:r>
              <a:rPr lang="en-US" b="1" dirty="0"/>
              <a:t>Embed</a:t>
            </a:r>
            <a:r>
              <a:rPr lang="en-US" dirty="0"/>
              <a:t> – Went to managers and told them they have a dedicated resource….but there’s a catch!!! If you get a QA resource then you need to bring them into all dev discussions (stand-ups, US grooming (acceptance criteria and Story pointing), etc.). (begin the shift to Agile)</a:t>
            </a:r>
          </a:p>
          <a:p>
            <a:r>
              <a:rPr lang="en-US" b="1" dirty="0"/>
              <a:t>Test Approach </a:t>
            </a:r>
            <a:r>
              <a:rPr lang="en-US" dirty="0"/>
              <a:t>– </a:t>
            </a:r>
          </a:p>
          <a:p>
            <a:r>
              <a:rPr lang="en-US" dirty="0"/>
              <a:t>	</a:t>
            </a:r>
            <a:r>
              <a:rPr lang="en-US" b="1" dirty="0"/>
              <a:t>Standardize</a:t>
            </a:r>
            <a:r>
              <a:rPr lang="en-US" dirty="0"/>
              <a:t> – Test Cases in ADO, Link to User Stories (important to build foundation for metrics once in release pipeline)</a:t>
            </a:r>
          </a:p>
          <a:p>
            <a:r>
              <a:rPr lang="en-US" dirty="0"/>
              <a:t>	</a:t>
            </a:r>
            <a:r>
              <a:rPr lang="en-US" b="1" dirty="0"/>
              <a:t>Outsource</a:t>
            </a:r>
            <a:r>
              <a:rPr lang="en-US" dirty="0"/>
              <a:t> – prior manager had hired company to do automation for us using Test Complete on a product we ended up re-writing completely. Vendor was too time consuming to transfer knowledge and didn’t write the code in an architecturally good way (hard coded values, code was re-written throughout etc.) This is when I realized it was more time consuming to have someone else write our automation than to do it ourselves. I just didn’t have the appropriate skillsets on the team yet.</a:t>
            </a:r>
          </a:p>
          <a:p>
            <a:r>
              <a:rPr lang="en-US" dirty="0"/>
              <a:t>	</a:t>
            </a:r>
            <a:r>
              <a:rPr lang="en-US" b="1" dirty="0"/>
              <a:t>Started with UI Automation and Test Complete </a:t>
            </a:r>
            <a:r>
              <a:rPr lang="en-US" dirty="0"/>
              <a:t>– this turned out to be more unstable and harder to do. We used TC as record and play because skill did not exist on team</a:t>
            </a:r>
          </a:p>
          <a:p>
            <a:r>
              <a:rPr lang="en-US" b="1" dirty="0"/>
              <a:t>Tools</a:t>
            </a:r>
            <a:r>
              <a:rPr lang="en-US" dirty="0"/>
              <a:t> – </a:t>
            </a:r>
          </a:p>
          <a:p>
            <a:r>
              <a:rPr lang="en-US" dirty="0"/>
              <a:t>	</a:t>
            </a:r>
            <a:r>
              <a:rPr lang="en-US" b="1" dirty="0"/>
              <a:t>Test Complete </a:t>
            </a:r>
            <a:r>
              <a:rPr lang="en-US" dirty="0"/>
              <a:t>was a record and play tool to automate Front-End systems for users who have little experience coding</a:t>
            </a:r>
          </a:p>
        </p:txBody>
      </p:sp>
      <p:sp>
        <p:nvSpPr>
          <p:cNvPr id="4" name="Slide Number Placeholder 3"/>
          <p:cNvSpPr>
            <a:spLocks noGrp="1"/>
          </p:cNvSpPr>
          <p:nvPr>
            <p:ph type="sldNum" sz="quarter" idx="5"/>
          </p:nvPr>
        </p:nvSpPr>
        <p:spPr/>
        <p:txBody>
          <a:bodyPr/>
          <a:lstStyle/>
          <a:p>
            <a:fld id="{2EF886B2-D6EC-7140-8539-A6DBFCF04EBE}" type="slidenum">
              <a:rPr lang="en-US" smtClean="0"/>
              <a:t>12</a:t>
            </a:fld>
            <a:endParaRPr lang="en-US"/>
          </a:p>
        </p:txBody>
      </p:sp>
    </p:spTree>
    <p:extLst>
      <p:ext uri="{BB962C8B-B14F-4D97-AF65-F5344CB8AC3E}">
        <p14:creationId xmlns:p14="http://schemas.microsoft.com/office/powerpoint/2010/main" val="41017120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eople</a:t>
            </a:r>
            <a:r>
              <a:rPr lang="en-US" dirty="0"/>
              <a:t>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b="1" dirty="0"/>
              <a:t>Training</a:t>
            </a:r>
            <a:r>
              <a:rPr lang="en-US" dirty="0"/>
              <a:t> – </a:t>
            </a:r>
          </a:p>
          <a:p>
            <a:pPr marL="2000250" marR="0" lvl="4"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DO- Test Cases (using variables for reusability in environments and platforms)</a:t>
            </a:r>
          </a:p>
          <a:p>
            <a:pPr marL="2000250" marR="0" lvl="4"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ad bi-weekly sessions with entire team to teach them toolsets (ADO, GIT source control, Integrating release pipelines)</a:t>
            </a:r>
          </a:p>
          <a:p>
            <a:pPr marL="2000250" marR="0" lvl="4"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Used </a:t>
            </a:r>
            <a:r>
              <a:rPr lang="en-US" dirty="0" err="1"/>
              <a:t>PluralSight</a:t>
            </a:r>
            <a:r>
              <a:rPr lang="en-US" dirty="0"/>
              <a:t> to assess skillsets and then developed plans for each person on areas of focus (JS, C#, SQL, Selenium etc.)</a:t>
            </a:r>
          </a:p>
          <a:p>
            <a:pPr marL="2000250" marR="0" lvl="4"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Had weekly check-ins with each person to assess their accomplishments with learnings – used </a:t>
            </a:r>
            <a:r>
              <a:rPr lang="en-US" dirty="0" err="1"/>
              <a:t>pluralsight</a:t>
            </a:r>
            <a:r>
              <a:rPr lang="en-US" dirty="0"/>
              <a:t> to gauge if they were on track with new assessments (assessments happened monthly)</a:t>
            </a:r>
          </a:p>
          <a:p>
            <a:r>
              <a:rPr lang="en-US" dirty="0"/>
              <a:t>	</a:t>
            </a:r>
            <a:r>
              <a:rPr lang="en-US" b="1" dirty="0"/>
              <a:t>Contractors</a:t>
            </a:r>
            <a:r>
              <a:rPr lang="en-US" dirty="0"/>
              <a:t> - Brought skillset in-house to develop internally and mentor direct hires to apply skills they were learning in </a:t>
            </a:r>
            <a:r>
              <a:rPr lang="en-US" dirty="0" err="1"/>
              <a:t>PluralSight</a:t>
            </a:r>
            <a:endParaRPr lang="en-US" dirty="0"/>
          </a:p>
          <a:p>
            <a:endParaRPr lang="en-US" dirty="0"/>
          </a:p>
          <a:p>
            <a:r>
              <a:rPr lang="en-US" b="1" dirty="0"/>
              <a:t>Test Approach </a:t>
            </a:r>
            <a:r>
              <a:rPr lang="en-US" dirty="0"/>
              <a:t>– </a:t>
            </a:r>
          </a:p>
          <a:p>
            <a:r>
              <a:rPr lang="en-US" dirty="0"/>
              <a:t>	</a:t>
            </a:r>
            <a:r>
              <a:rPr lang="en-US" b="1" dirty="0"/>
              <a:t>Green Product </a:t>
            </a:r>
            <a:r>
              <a:rPr lang="en-US" dirty="0"/>
              <a:t>- Started with a new product so we could build out automation with dev (M2Go)</a:t>
            </a:r>
          </a:p>
          <a:p>
            <a:r>
              <a:rPr lang="en-US" dirty="0"/>
              <a:t>	</a:t>
            </a:r>
            <a:r>
              <a:rPr lang="en-US" b="1" dirty="0"/>
              <a:t>API</a:t>
            </a:r>
            <a:r>
              <a:rPr lang="en-US" dirty="0"/>
              <a:t> - Focus on backend testing as this is more stable, integrating into release pipeline and linking scripts to test cases (API’s which fed data to front end as well as API’s like payment for eCommerce)</a:t>
            </a:r>
          </a:p>
          <a:p>
            <a:endParaRPr lang="en-US" dirty="0"/>
          </a:p>
          <a:p>
            <a:r>
              <a:rPr lang="en-US" b="1" dirty="0"/>
              <a:t>Tools</a:t>
            </a:r>
            <a:r>
              <a:rPr lang="en-US" dirty="0"/>
              <a:t> – </a:t>
            </a:r>
          </a:p>
          <a:p>
            <a:r>
              <a:rPr lang="en-US" dirty="0"/>
              <a:t>	M2Go – Postman with </a:t>
            </a:r>
            <a:r>
              <a:rPr lang="en-US" dirty="0" err="1"/>
              <a:t>Javascript</a:t>
            </a:r>
            <a:endParaRPr lang="en-US" dirty="0"/>
          </a:p>
          <a:p>
            <a:r>
              <a:rPr lang="en-US" dirty="0"/>
              <a:t>	</a:t>
            </a:r>
            <a:r>
              <a:rPr lang="en-US" dirty="0" err="1"/>
              <a:t>Wegpay</a:t>
            </a:r>
            <a:r>
              <a:rPr lang="en-US" dirty="0"/>
              <a:t> – MSVS C# </a:t>
            </a:r>
            <a:r>
              <a:rPr lang="en-US" dirty="0" err="1"/>
              <a:t>.Net</a:t>
            </a:r>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13</a:t>
            </a:fld>
            <a:endParaRPr lang="en-US"/>
          </a:p>
        </p:txBody>
      </p:sp>
    </p:spTree>
    <p:extLst>
      <p:ext uri="{BB962C8B-B14F-4D97-AF65-F5344CB8AC3E}">
        <p14:creationId xmlns:p14="http://schemas.microsoft.com/office/powerpoint/2010/main" val="28849118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eople</a:t>
            </a:r>
            <a:r>
              <a:rPr lang="en-US" dirty="0"/>
              <a:t> -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kills assessment with </a:t>
            </a:r>
            <a:r>
              <a:rPr lang="en-US" b="1" dirty="0" err="1"/>
              <a:t>PluralSight</a:t>
            </a:r>
            <a:r>
              <a:rPr lang="en-US" dirty="0"/>
              <a:t> – created personal development plans for each pers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Team grew by 10 additional head count to support growth and demand for CI\C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est Approach </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b="1" dirty="0"/>
              <a:t>UI Automation </a:t>
            </a:r>
            <a:r>
              <a:rPr lang="en-US" dirty="0"/>
              <a:t>- Began to focus more on UI automation. Teaching </a:t>
            </a:r>
            <a:r>
              <a:rPr lang="en-US" dirty="0" err="1"/>
              <a:t>devs</a:t>
            </a:r>
            <a:r>
              <a:rPr lang="en-US" dirty="0"/>
              <a:t> to us object IDs since </a:t>
            </a:r>
            <a:r>
              <a:rPr lang="en-US" dirty="0" err="1"/>
              <a:t>xPath</a:t>
            </a:r>
            <a:r>
              <a:rPr lang="en-US" dirty="0"/>
              <a:t> makes automation more vulnerable to fail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Trained team on using Page Object Model for UI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b="1" dirty="0"/>
              <a:t>Shift API Automation </a:t>
            </a:r>
            <a:r>
              <a:rPr lang="en-US" dirty="0"/>
              <a:t>– Postman had limitations, no debugging, unable to reuse code in a modular fashion, nice for quick tests but not 100’s of test cas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b="1" dirty="0"/>
              <a:t>Automation Checklist </a:t>
            </a:r>
            <a:r>
              <a:rPr lang="en-US" dirty="0"/>
              <a:t>– Created this to have data driven conversations with managers on what was needed to automate and think about what they were really </a:t>
            </a:r>
            <a:r>
              <a:rPr lang="en-US" dirty="0" err="1"/>
              <a:t>asing</a:t>
            </a:r>
            <a:r>
              <a:rPr lang="en-US" dirty="0"/>
              <a:t> us to automa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ool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elenium for website tes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hift from Selenium Appium on native iOS to </a:t>
            </a:r>
            <a:r>
              <a:rPr lang="en-US" dirty="0" err="1"/>
              <a:t>xCod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Shift from Selenium Appium on native Android to Xamari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pp Center for testing devices in the pipeline</a:t>
            </a:r>
          </a:p>
        </p:txBody>
      </p:sp>
      <p:sp>
        <p:nvSpPr>
          <p:cNvPr id="4" name="Slide Number Placeholder 3"/>
          <p:cNvSpPr>
            <a:spLocks noGrp="1"/>
          </p:cNvSpPr>
          <p:nvPr>
            <p:ph type="sldNum" sz="quarter" idx="5"/>
          </p:nvPr>
        </p:nvSpPr>
        <p:spPr/>
        <p:txBody>
          <a:bodyPr/>
          <a:lstStyle/>
          <a:p>
            <a:fld id="{2EF886B2-D6EC-7140-8539-A6DBFCF04EBE}" type="slidenum">
              <a:rPr lang="en-US" smtClean="0"/>
              <a:t>14</a:t>
            </a:fld>
            <a:endParaRPr lang="en-US"/>
          </a:p>
        </p:txBody>
      </p:sp>
    </p:spTree>
    <p:extLst>
      <p:ext uri="{BB962C8B-B14F-4D97-AF65-F5344CB8AC3E}">
        <p14:creationId xmlns:p14="http://schemas.microsoft.com/office/powerpoint/2010/main" val="1939793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eople</a:t>
            </a:r>
            <a:r>
              <a:rPr lang="en-US" dirty="0"/>
              <a:t> - </a:t>
            </a:r>
          </a:p>
          <a:p>
            <a:r>
              <a:rPr lang="en-US" dirty="0"/>
              <a:t>	</a:t>
            </a:r>
            <a:r>
              <a:rPr lang="en-US" b="1" dirty="0"/>
              <a:t>NEW ROLES </a:t>
            </a:r>
            <a:r>
              <a:rPr lang="en-US" dirty="0"/>
              <a:t>- appropriate to new skills that people were doing. Essentially, they are developing code and this allowed for growth and career opportunities for both dev and QA.</a:t>
            </a:r>
          </a:p>
          <a:p>
            <a:r>
              <a:rPr lang="en-US" dirty="0"/>
              <a:t>	</a:t>
            </a:r>
            <a:r>
              <a:rPr lang="en-US" b="1" dirty="0"/>
              <a:t>New hires </a:t>
            </a:r>
            <a:r>
              <a:rPr lang="en-US" dirty="0"/>
              <a:t>– growth was needed as skillsets being outsourced were now a need to the company. Cost proposal showed cost savings, less turnover, skills inhouse, and allowed us to meet the need of the business (quality with speed to mark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est Approach </a:t>
            </a:r>
            <a:r>
              <a:rPr lang="en-US" dirty="0"/>
              <a:t>–</a:t>
            </a:r>
          </a:p>
          <a:p>
            <a:r>
              <a:rPr lang="en-US" dirty="0"/>
              <a:t>	</a:t>
            </a:r>
            <a:r>
              <a:rPr lang="en-US" b="1" dirty="0"/>
              <a:t>Re-write</a:t>
            </a:r>
            <a:r>
              <a:rPr lang="en-US" dirty="0"/>
              <a:t> – Xamarin had limitations with our authentication API (APIM) and we could only test in guest mode. Espresso allowed us to integrate into ADO and use App Center in our release pipeli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ool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b="1" dirty="0"/>
              <a:t>Espresso</a:t>
            </a:r>
            <a:r>
              <a:rPr lang="en-US" dirty="0"/>
              <a:t> for Android native app</a:t>
            </a: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15</a:t>
            </a:fld>
            <a:endParaRPr lang="en-US"/>
          </a:p>
        </p:txBody>
      </p:sp>
    </p:spTree>
    <p:extLst>
      <p:ext uri="{BB962C8B-B14F-4D97-AF65-F5344CB8AC3E}">
        <p14:creationId xmlns:p14="http://schemas.microsoft.com/office/powerpoint/2010/main" val="33053989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People</a:t>
            </a:r>
            <a:r>
              <a:rPr lang="en-US" dirty="0"/>
              <a:t> - </a:t>
            </a:r>
          </a:p>
          <a:p>
            <a:r>
              <a:rPr lang="en-US" dirty="0"/>
              <a:t>	</a:t>
            </a:r>
            <a:r>
              <a:rPr lang="en-US" b="1" dirty="0"/>
              <a:t>Tech Lead </a:t>
            </a:r>
            <a:r>
              <a:rPr lang="en-US" dirty="0"/>
              <a:t>– Essential to getting areas we support up and running as well as areas of development that still do not have embedded QA.</a:t>
            </a:r>
          </a:p>
          <a:p>
            <a:r>
              <a:rPr lang="en-US" dirty="0"/>
              <a:t>	</a:t>
            </a:r>
            <a:r>
              <a:rPr lang="en-US" b="1" dirty="0"/>
              <a:t>New hires </a:t>
            </a:r>
            <a:r>
              <a:rPr lang="en-US" dirty="0"/>
              <a:t>– growth was needed as skillsets being outsourced were now a need to the company. Cost proposal showed cost savings, less turnover, skills inhouse, and allowed us to meet the need of the business (quality with speed to marke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est Approach </a:t>
            </a:r>
            <a:r>
              <a:rPr lang="en-US" dirty="0"/>
              <a:t>–</a:t>
            </a:r>
          </a:p>
          <a:p>
            <a:r>
              <a:rPr lang="en-US" dirty="0"/>
              <a:t>	</a:t>
            </a:r>
            <a:r>
              <a:rPr lang="en-US" b="1" dirty="0"/>
              <a:t>CT assessment </a:t>
            </a:r>
            <a:r>
              <a:rPr lang="en-US" dirty="0"/>
              <a:t>-  allows us to rate a series of categories to get automation up and running in our shop (is dev in a release pipeline, how often do you release, environment stability, etc.) This gives teams action items or work to put in their backlog to get automation going in their space.</a:t>
            </a:r>
          </a:p>
          <a:p>
            <a:r>
              <a:rPr lang="en-US" dirty="0"/>
              <a:t>	</a:t>
            </a:r>
            <a:r>
              <a:rPr lang="en-US" b="1" dirty="0"/>
              <a:t>Documenting standards </a:t>
            </a:r>
            <a:r>
              <a:rPr lang="en-US" dirty="0"/>
              <a:t>– using a single source to document best practices and guidelines that people can reference is key. Putting them in an enterprise site allows for once source of truth and a tool for people to reference in guiding how to build this with our technologies.</a:t>
            </a:r>
          </a:p>
          <a:p>
            <a:r>
              <a:rPr lang="en-US" dirty="0"/>
              <a:t>	</a:t>
            </a:r>
            <a:r>
              <a:rPr lang="en-US" b="1" dirty="0"/>
              <a:t>CoP</a:t>
            </a:r>
            <a:r>
              <a:rPr lang="en-US" dirty="0"/>
              <a:t> – Establishing a CoP is critical to giving people a place to learn and grow continuously as technology changes. This team will also approve new tools teams may want to use to build automation. We want to ensure we do not have too many tools to support as we move forward and they need to work in our enterprise as a whole, especially as we move towards </a:t>
            </a:r>
            <a:r>
              <a:rPr lang="en-US" dirty="0" err="1"/>
              <a:t>devops</a:t>
            </a:r>
            <a:r>
              <a:rPr lang="en-US" dirty="0"/>
              <a:t>. The CoP team will hold meetings on educating and giving new suggestions on process improvement around tes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Tools</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b="1" dirty="0" err="1"/>
              <a:t>IntelliQA</a:t>
            </a:r>
            <a:r>
              <a:rPr lang="en-US" dirty="0"/>
              <a:t> – robotics to automate testing physical cards in our POS space</a:t>
            </a:r>
          </a:p>
        </p:txBody>
      </p:sp>
      <p:sp>
        <p:nvSpPr>
          <p:cNvPr id="4" name="Slide Number Placeholder 3"/>
          <p:cNvSpPr>
            <a:spLocks noGrp="1"/>
          </p:cNvSpPr>
          <p:nvPr>
            <p:ph type="sldNum" sz="quarter" idx="5"/>
          </p:nvPr>
        </p:nvSpPr>
        <p:spPr/>
        <p:txBody>
          <a:bodyPr/>
          <a:lstStyle/>
          <a:p>
            <a:fld id="{2EF886B2-D6EC-7140-8539-A6DBFCF04EBE}" type="slidenum">
              <a:rPr lang="en-US" smtClean="0"/>
              <a:t>16</a:t>
            </a:fld>
            <a:endParaRPr lang="en-US"/>
          </a:p>
        </p:txBody>
      </p:sp>
    </p:spTree>
    <p:extLst>
      <p:ext uri="{BB962C8B-B14F-4D97-AF65-F5344CB8AC3E}">
        <p14:creationId xmlns:p14="http://schemas.microsoft.com/office/powerpoint/2010/main" val="28929068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est Coverage </a:t>
            </a:r>
            <a:r>
              <a:rPr lang="en-US" dirty="0"/>
              <a:t>– </a:t>
            </a:r>
          </a:p>
          <a:p>
            <a:r>
              <a:rPr lang="en-US" dirty="0"/>
              <a:t>	Automation provides consistent and repeatable tests on multiple platforms without human error. It gave us the coverage we needed in short release cycles.</a:t>
            </a:r>
          </a:p>
          <a:p>
            <a:r>
              <a:rPr lang="en-US" b="1" dirty="0"/>
              <a:t>Quality with speed to market </a:t>
            </a:r>
            <a:r>
              <a:rPr lang="en-US" dirty="0"/>
              <a:t>– </a:t>
            </a:r>
          </a:p>
          <a:p>
            <a:r>
              <a:rPr lang="en-US" dirty="0"/>
              <a:t>	With automation you can quickly repeat tests and know you have not broken any critical areas of your software in a short time frame</a:t>
            </a:r>
          </a:p>
          <a:p>
            <a:r>
              <a:rPr lang="en-US" b="1" dirty="0"/>
              <a:t>Test documentation </a:t>
            </a:r>
            <a:r>
              <a:rPr lang="en-US" dirty="0"/>
              <a:t>– </a:t>
            </a:r>
          </a:p>
          <a:p>
            <a:r>
              <a:rPr lang="en-US" dirty="0"/>
              <a:t>	onboarding and cross training is easily done with test cases in ADO (self documenting)</a:t>
            </a:r>
          </a:p>
          <a:p>
            <a:r>
              <a:rPr lang="en-US" b="1" dirty="0"/>
              <a:t>Capacity Planning </a:t>
            </a:r>
            <a:r>
              <a:rPr lang="en-US" dirty="0"/>
              <a:t>– </a:t>
            </a:r>
          </a:p>
          <a:p>
            <a:r>
              <a:rPr lang="en-US" dirty="0"/>
              <a:t>	Embedded resources allowed teams to understand capacity with dedicated resources</a:t>
            </a:r>
          </a:p>
          <a:p>
            <a:r>
              <a:rPr lang="en-US" b="1" dirty="0"/>
              <a:t>Cost Savings </a:t>
            </a:r>
            <a:r>
              <a:rPr lang="en-US" dirty="0"/>
              <a:t>– </a:t>
            </a:r>
          </a:p>
          <a:p>
            <a:r>
              <a:rPr lang="en-US" dirty="0"/>
              <a:t>	outsourcing and contractors are expensive. </a:t>
            </a:r>
          </a:p>
          <a:p>
            <a:r>
              <a:rPr lang="en-US" dirty="0"/>
              <a:t>	Testing requires people to be an SME and we struggled with that when outsourcing and bringing new people on. </a:t>
            </a:r>
          </a:p>
          <a:p>
            <a:r>
              <a:rPr lang="en-US" dirty="0"/>
              <a:t>	Finding issues earlier saves money – shift left</a:t>
            </a:r>
          </a:p>
          <a:p>
            <a:r>
              <a:rPr lang="en-US" b="1" dirty="0"/>
              <a:t>Metrics</a:t>
            </a:r>
            <a:r>
              <a:rPr lang="en-US" dirty="0"/>
              <a:t> – </a:t>
            </a:r>
          </a:p>
          <a:p>
            <a:r>
              <a:rPr lang="en-US" dirty="0"/>
              <a:t>	Data allows you to have a data driven conversation vs. emotional conversation with the business to make educated decisions on software</a:t>
            </a:r>
          </a:p>
          <a:p>
            <a:r>
              <a:rPr lang="en-US" dirty="0"/>
              <a:t>	Data allows you to see patterns in areas which need more work or focus. It begins to drive discussions on vulnerabilities within your software</a:t>
            </a:r>
          </a:p>
        </p:txBody>
      </p:sp>
      <p:sp>
        <p:nvSpPr>
          <p:cNvPr id="4" name="Slide Number Placeholder 3"/>
          <p:cNvSpPr>
            <a:spLocks noGrp="1"/>
          </p:cNvSpPr>
          <p:nvPr>
            <p:ph type="sldNum" sz="quarter" idx="5"/>
          </p:nvPr>
        </p:nvSpPr>
        <p:spPr/>
        <p:txBody>
          <a:bodyPr/>
          <a:lstStyle/>
          <a:p>
            <a:fld id="{2EF886B2-D6EC-7140-8539-A6DBFCF04EBE}" type="slidenum">
              <a:rPr lang="en-US" smtClean="0"/>
              <a:t>17</a:t>
            </a:fld>
            <a:endParaRPr lang="en-US"/>
          </a:p>
        </p:txBody>
      </p:sp>
    </p:spTree>
    <p:extLst>
      <p:ext uri="{BB962C8B-B14F-4D97-AF65-F5344CB8AC3E}">
        <p14:creationId xmlns:p14="http://schemas.microsoft.com/office/powerpoint/2010/main" val="28153617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etrics</a:t>
            </a:r>
            <a:r>
              <a:rPr lang="en-US" dirty="0"/>
              <a:t> – </a:t>
            </a:r>
          </a:p>
          <a:p>
            <a:r>
              <a:rPr lang="en-US" dirty="0"/>
              <a:t>	Using analytics on application to begin to understand where tests should be focused.</a:t>
            </a:r>
          </a:p>
          <a:p>
            <a:r>
              <a:rPr lang="en-US" dirty="0"/>
              <a:t>	Using data to understand where automation should be invested in on product. Where is the ROI? How much should we automate?</a:t>
            </a:r>
          </a:p>
          <a:p>
            <a:r>
              <a:rPr lang="en-US" b="1" dirty="0"/>
              <a:t>Performance Testing </a:t>
            </a:r>
            <a:r>
              <a:rPr lang="en-US" dirty="0"/>
              <a:t>– </a:t>
            </a:r>
          </a:p>
          <a:p>
            <a:r>
              <a:rPr lang="en-US" dirty="0"/>
              <a:t>	Focus to integrate a team which establishes performance tests in release pipelines to better understand thresholds and predict failures before they happen through health monitoring</a:t>
            </a:r>
          </a:p>
          <a:p>
            <a:r>
              <a:rPr lang="en-US" b="1" dirty="0"/>
              <a:t>Integrating CT in all areas of dev </a:t>
            </a:r>
            <a:r>
              <a:rPr lang="en-US" dirty="0"/>
              <a:t>– </a:t>
            </a:r>
          </a:p>
          <a:p>
            <a:r>
              <a:rPr lang="en-US" dirty="0"/>
              <a:t>	Working on creating an assessment to build CT in areas we do not support. This will define work to put in backlog and work towards.</a:t>
            </a:r>
          </a:p>
          <a:p>
            <a:r>
              <a:rPr lang="en-US" b="1" dirty="0"/>
              <a:t>Integrating CT in prod </a:t>
            </a:r>
            <a:r>
              <a:rPr lang="en-US" dirty="0"/>
              <a:t>–</a:t>
            </a:r>
          </a:p>
          <a:p>
            <a:r>
              <a:rPr lang="en-US" dirty="0"/>
              <a:t>	Currently we focus more in certification environments. The goal would be to begin creating smoke tests we can run in our production environment.</a:t>
            </a:r>
          </a:p>
          <a:p>
            <a:r>
              <a:rPr lang="en-US" b="1" dirty="0"/>
              <a:t>Integrating into Ops </a:t>
            </a:r>
            <a:r>
              <a:rPr lang="en-US" dirty="0"/>
              <a:t>– </a:t>
            </a:r>
          </a:p>
          <a:p>
            <a:r>
              <a:rPr lang="en-US" dirty="0"/>
              <a:t>	Begin building out automated scripts for health monitoring. Pro-active vs. reactive</a:t>
            </a:r>
          </a:p>
          <a:p>
            <a:r>
              <a:rPr lang="en-US" b="1" dirty="0"/>
              <a:t>Merging roles </a:t>
            </a:r>
            <a:r>
              <a:rPr lang="en-US" dirty="0"/>
              <a:t>– </a:t>
            </a:r>
          </a:p>
          <a:p>
            <a:r>
              <a:rPr lang="en-US" dirty="0"/>
              <a:t>	One team owns product. Eventually work will be a shared responsibility as we begin to shift towards agile and </a:t>
            </a:r>
            <a:r>
              <a:rPr lang="en-US" dirty="0" err="1"/>
              <a:t>devops</a:t>
            </a:r>
            <a:r>
              <a:rPr lang="en-US" dirty="0"/>
              <a:t>. This is a culture change and let’s face it, most people don’t like change. We will need to work on a strategy and vision to rollout this shift and leadership will need to enforce it.</a:t>
            </a:r>
          </a:p>
        </p:txBody>
      </p:sp>
      <p:sp>
        <p:nvSpPr>
          <p:cNvPr id="4" name="Slide Number Placeholder 3"/>
          <p:cNvSpPr>
            <a:spLocks noGrp="1"/>
          </p:cNvSpPr>
          <p:nvPr>
            <p:ph type="sldNum" sz="quarter" idx="5"/>
          </p:nvPr>
        </p:nvSpPr>
        <p:spPr/>
        <p:txBody>
          <a:bodyPr/>
          <a:lstStyle/>
          <a:p>
            <a:fld id="{2EF886B2-D6EC-7140-8539-A6DBFCF04EBE}" type="slidenum">
              <a:rPr lang="en-US" smtClean="0"/>
              <a:t>18</a:t>
            </a:fld>
            <a:endParaRPr lang="en-US"/>
          </a:p>
        </p:txBody>
      </p:sp>
    </p:spTree>
    <p:extLst>
      <p:ext uri="{BB962C8B-B14F-4D97-AF65-F5344CB8AC3E}">
        <p14:creationId xmlns:p14="http://schemas.microsoft.com/office/powerpoint/2010/main" val="4575130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Mission Statement</a:t>
            </a:r>
          </a:p>
          <a:p>
            <a:r>
              <a:rPr lang="en-US" sz="1200" b="0" dirty="0"/>
              <a:t>	A mission statement helps the team understand what they are working towards. It establishes a sense of belonging and helps the team focus on the goal at hand. It also allows you to have the appropriate conversations with the team on what they need to work on to conform to that change.</a:t>
            </a:r>
          </a:p>
          <a:p>
            <a:r>
              <a:rPr lang="en-US" sz="1200" b="1" dirty="0"/>
              <a:t>Excuses</a:t>
            </a:r>
          </a:p>
          <a:p>
            <a:r>
              <a:rPr lang="en-US" sz="1200" dirty="0"/>
              <a:t>	There is always going to be something you are working on, or it is too big of an upfront investment. If you want to move to agile and </a:t>
            </a:r>
            <a:r>
              <a:rPr lang="en-US" sz="1200" dirty="0" err="1"/>
              <a:t>devops</a:t>
            </a:r>
            <a:r>
              <a:rPr lang="en-US" sz="1200" dirty="0"/>
              <a:t> world then moving to automated testing is critical for it to be successful. You have to start somewhere!</a:t>
            </a:r>
          </a:p>
          <a:p>
            <a:r>
              <a:rPr lang="en-US" sz="1200" b="1" dirty="0"/>
              <a:t>Influencing team </a:t>
            </a:r>
          </a:p>
          <a:p>
            <a:r>
              <a:rPr lang="en-US" sz="1200" dirty="0"/>
              <a:t>	Having difficult conversations and managerial courage to tell them their job is changing and helping them feel comfortable to shift to the change. Getting their support to shift is critical. If your team doesn’t believe in what they do and does not understand why, then as a leader your vision will not be a success. They MUST be on board to shift.</a:t>
            </a:r>
          </a:p>
          <a:p>
            <a:r>
              <a:rPr lang="en-US" sz="1200" b="1" dirty="0"/>
              <a:t>Influencing leadership </a:t>
            </a:r>
          </a:p>
          <a:p>
            <a:r>
              <a:rPr lang="en-US" sz="1200" dirty="0"/>
              <a:t>	Automation is a large up-front investment where the ROI\Benefits may not be seen for over a year. Helping educate management on why this is needed is important. (Agile and DevOps cannot exist without CT if you want quality!)</a:t>
            </a:r>
            <a:endParaRPr lang="en-US" sz="1200" b="1" dirty="0"/>
          </a:p>
          <a:p>
            <a:r>
              <a:rPr lang="en-US" sz="1200" b="1" dirty="0"/>
              <a:t>Think big picture to establish your foundation</a:t>
            </a:r>
          </a:p>
          <a:p>
            <a:r>
              <a:rPr lang="en-US" sz="1200" dirty="0"/>
              <a:t>	You’re foundational pieces are building blocks to where you want to go. If you don’t establish these correctly then you won’t reach your goal and may need to re-work when moving forward (Metrics and tying automation to test cases,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t>Establish tools that work for your product and enterprise</a:t>
            </a:r>
          </a:p>
          <a:p>
            <a:r>
              <a:rPr lang="en-US" sz="1200" b="1" dirty="0"/>
              <a:t>	</a:t>
            </a:r>
            <a:r>
              <a:rPr lang="en-US" sz="1200" b="0" dirty="0"/>
              <a:t>Establish tools that work with your product and your enterprise. We are a Microsoft shop. It was important the tools we selected could integrate into ADO so we could measure quality back to the scripts we were running. We also chose to use C# </a:t>
            </a:r>
            <a:r>
              <a:rPr lang="en-US" sz="1200" b="0" dirty="0" err="1"/>
              <a:t>.Net</a:t>
            </a:r>
            <a:r>
              <a:rPr lang="en-US" sz="1200" b="0" dirty="0"/>
              <a:t> where we could since this is the language our shop uses for all API or backend programming. At some point development may have to maintain and own this code so let’s align with them and make the learning curve minimal.</a:t>
            </a:r>
          </a:p>
          <a:p>
            <a:r>
              <a:rPr lang="en-US" sz="1200" b="1" dirty="0"/>
              <a:t>Go after a product that is green</a:t>
            </a:r>
          </a:p>
          <a:p>
            <a:r>
              <a:rPr lang="en-US" sz="1200" b="1" dirty="0"/>
              <a:t>	</a:t>
            </a:r>
            <a:r>
              <a:rPr lang="en-US" sz="1200" b="0" dirty="0"/>
              <a:t>If you can, starting with a green product that the company is spinning up is easier to establish automated testing as development is happening rather than a legacy system that is already built where you may not have User Stories to work off of and build out. The payback will be quicker on a new product as well rather than a legacy one.</a:t>
            </a:r>
            <a:endParaRPr lang="en-US" sz="1200" b="1" dirty="0"/>
          </a:p>
          <a:p>
            <a:r>
              <a:rPr lang="en-US" sz="1200" b="1" dirty="0"/>
              <a:t>Creating an automation candidate checklist</a:t>
            </a:r>
          </a:p>
          <a:p>
            <a:r>
              <a:rPr lang="en-US" sz="1200" dirty="0"/>
              <a:t>	We have many legacy systems I would not automate due to them being retired/not many releases. Having a checklist to establish what makes a good candidate to automate helps facilitate conversations with managers who want to start automating in their area. It drives data conversations vs emotional ones.</a:t>
            </a:r>
          </a:p>
          <a:p>
            <a:r>
              <a:rPr lang="en-US" sz="1200" b="1" dirty="0"/>
              <a:t>Failure is success!!</a:t>
            </a:r>
          </a:p>
          <a:p>
            <a:r>
              <a:rPr lang="en-US" sz="1200" dirty="0"/>
              <a:t>	Trying a tool and not succeeding leads you to a tool that will be successful. It is OK to try and not have it work but shift quickly when it isn’t working!</a:t>
            </a:r>
          </a:p>
          <a:p>
            <a:r>
              <a:rPr lang="en-US" sz="1200" b="1" dirty="0"/>
              <a:t>Build an overall plan with small and reachable milestones (remember to celebrate them!)</a:t>
            </a:r>
          </a:p>
          <a:p>
            <a:r>
              <a:rPr lang="en-US" sz="1200" dirty="0"/>
              <a:t>	Small goals are easier to reach than large one’s. Rome wasn’t built in a day. This takes time and patience. Just remember to celebrate your small successes so you know and your people know this is working!</a:t>
            </a:r>
          </a:p>
          <a:p>
            <a:r>
              <a:rPr lang="en-US" sz="1200" b="1" dirty="0"/>
              <a:t>Check-Ins</a:t>
            </a:r>
          </a:p>
          <a:p>
            <a:r>
              <a:rPr lang="en-US" sz="1200" b="1" dirty="0"/>
              <a:t>	</a:t>
            </a:r>
            <a:r>
              <a:rPr lang="en-US" sz="1200" b="0" dirty="0"/>
              <a:t>Check-Ins with each individual on team weekly is important to ensure the person is getting the skills they need and does not need to modify their development plans. You also want to encourage and support this person with all the changes they are going through.</a:t>
            </a:r>
            <a:endParaRPr lang="en-US" sz="1200" b="1" dirty="0"/>
          </a:p>
          <a:p>
            <a:r>
              <a:rPr lang="en-US" sz="1200" dirty="0"/>
              <a:t>	You want to ensure you are having check-ins with management to show them your progress and success each month on reaching your milestones.</a:t>
            </a:r>
            <a:endParaRPr lang="en-US" sz="1200" b="1" dirty="0"/>
          </a:p>
          <a:p>
            <a:r>
              <a:rPr lang="en-US" sz="1200" b="1" dirty="0"/>
              <a:t>Don’t give up!</a:t>
            </a:r>
          </a:p>
          <a:p>
            <a:r>
              <a:rPr lang="en-US" sz="1200" dirty="0"/>
              <a:t>	You will run into challenges. People may not understand what you are building, but once you build the foundation it is continuous improvement beyond that. People will see the changes once it is in place with metrics and results.</a:t>
            </a:r>
          </a:p>
          <a:p>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19</a:t>
            </a:fld>
            <a:endParaRPr lang="en-US"/>
          </a:p>
        </p:txBody>
      </p:sp>
    </p:spTree>
    <p:extLst>
      <p:ext uri="{BB962C8B-B14F-4D97-AF65-F5344CB8AC3E}">
        <p14:creationId xmlns:p14="http://schemas.microsoft.com/office/powerpoint/2010/main" val="7097003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20</a:t>
            </a:fld>
            <a:endParaRPr lang="en-US"/>
          </a:p>
        </p:txBody>
      </p:sp>
    </p:spTree>
    <p:extLst>
      <p:ext uri="{BB962C8B-B14F-4D97-AF65-F5344CB8AC3E}">
        <p14:creationId xmlns:p14="http://schemas.microsoft.com/office/powerpoint/2010/main" val="14191058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200" b="1" dirty="0"/>
              <a:t>100% manual testing </a:t>
            </a:r>
          </a:p>
          <a:p>
            <a:pPr lvl="1"/>
            <a:r>
              <a:rPr lang="en-US" sz="2200" dirty="0"/>
              <a:t>Manual testing  makes QA a bottleneck to getting the product out the door. If you can create automated scripts that are repeatable across all platforms your product is on then test cycles are MUCH quicker because feedback to development is quicker. QA is now helping </a:t>
            </a:r>
            <a:r>
              <a:rPr lang="en-US" sz="2200" dirty="0" err="1"/>
              <a:t>devs</a:t>
            </a:r>
            <a:r>
              <a:rPr lang="en-US" sz="2200" dirty="0"/>
              <a:t> debug issues and helping them target the problem rather than the developer having to do it.</a:t>
            </a:r>
          </a:p>
          <a:p>
            <a:r>
              <a:rPr lang="en-US" sz="2200" b="1" dirty="0"/>
              <a:t>No standard process to documenting test cases</a:t>
            </a:r>
          </a:p>
          <a:p>
            <a:pPr lvl="1"/>
            <a:r>
              <a:rPr lang="en-US" sz="2200" dirty="0"/>
              <a:t>Not having test cases linked to user stories makes it hard to understand weather the requirement has been met </a:t>
            </a:r>
          </a:p>
          <a:p>
            <a:pPr lvl="1"/>
            <a:r>
              <a:rPr lang="en-US" sz="2200" dirty="0"/>
              <a:t>Not having a consistent way of documenting test cases makes it hard to train and onboard new people or even moving people within the team. Having people do the same thing allows for simplification within the team.</a:t>
            </a:r>
          </a:p>
          <a:p>
            <a:r>
              <a:rPr lang="en-US" sz="2200" b="1" dirty="0"/>
              <a:t>Outsourcing automation to vendor</a:t>
            </a:r>
          </a:p>
          <a:p>
            <a:pPr lvl="1"/>
            <a:r>
              <a:rPr lang="en-US" sz="2200" dirty="0"/>
              <a:t>Wegmans resources were spending more time to educate the vendor when they could be doing the work themselves. It took them away from work they had to do.</a:t>
            </a:r>
          </a:p>
          <a:p>
            <a:pPr lvl="1"/>
            <a:r>
              <a:rPr lang="en-US" sz="2200" dirty="0"/>
              <a:t>As I met with the vendor I asked to review their code and soon realized it was not architected in a modular way and if it was handed over to my team to support it would not have been maintainable. I saw hard coded values, code being re-written and those things a recipe for disaster which will pile up tech debt.</a:t>
            </a:r>
          </a:p>
          <a:p>
            <a:pPr lvl="1"/>
            <a:r>
              <a:rPr lang="en-US" sz="2200" dirty="0"/>
              <a:t>The data in the system they were testing was stale. They were not injecting data to test with so the automation often failed and this defeats the purpose of automation. It should fail when there is a REAL failure in your system.</a:t>
            </a:r>
          </a:p>
          <a:p>
            <a:r>
              <a:rPr lang="en-US" sz="2200" b="1" dirty="0"/>
              <a:t>No data to measure</a:t>
            </a:r>
          </a:p>
          <a:p>
            <a:pPr lvl="1"/>
            <a:r>
              <a:rPr lang="en-US" sz="2200" dirty="0"/>
              <a:t>Capacity planning was impossible to understand without data to measure in ADO</a:t>
            </a:r>
          </a:p>
          <a:p>
            <a:pPr lvl="1"/>
            <a:r>
              <a:rPr lang="en-US" sz="2200" dirty="0"/>
              <a:t>Measuring the quality of the product was impossible without the data in ADO. It often felt like we were guessing on status of testing when it came to coverage. We were also only able to measure criticality of bugs rather than understanding coverage or if features were stable. Putting our test cases in ADO would also us to deep root our metrics and be proactive rather then reactive.</a:t>
            </a:r>
          </a:p>
          <a:p>
            <a:r>
              <a:rPr lang="en-US" sz="2200" b="1" dirty="0"/>
              <a:t>Teams operating in waterfall or “</a:t>
            </a:r>
            <a:r>
              <a:rPr lang="en-US" sz="2200" b="1" dirty="0" err="1"/>
              <a:t>wagile</a:t>
            </a:r>
            <a:r>
              <a:rPr lang="en-US" sz="2200" b="1" dirty="0"/>
              <a:t>” process where QA was not embedded</a:t>
            </a:r>
          </a:p>
          <a:p>
            <a:r>
              <a:rPr lang="en-US" sz="2200" b="1" dirty="0"/>
              <a:t>	</a:t>
            </a:r>
            <a:r>
              <a:rPr lang="en-US" sz="2200" b="0" dirty="0"/>
              <a:t>Operating this way often felt like things were thrown over the wall. QA was not embedded in the dev cycle and we often would find things not working the day we got it because dev teams were not talking to one another when they had to </a:t>
            </a:r>
            <a:r>
              <a:rPr lang="en-US" sz="2200" b="0" dirty="0" err="1"/>
              <a:t>inegrate</a:t>
            </a:r>
            <a:r>
              <a:rPr lang="en-US" sz="2200" b="0" dirty="0"/>
              <a:t> their code. Things took longer to certify and more bugs were found because we were getting the product when it was “100%” complete rather than testing things in smaller stints as features were being built.</a:t>
            </a:r>
            <a:endParaRPr lang="en-US" sz="2200" b="1" dirty="0"/>
          </a:p>
          <a:p>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4</a:t>
            </a:fld>
            <a:endParaRPr lang="en-US"/>
          </a:p>
        </p:txBody>
      </p:sp>
    </p:spTree>
    <p:extLst>
      <p:ext uri="{BB962C8B-B14F-4D97-AF65-F5344CB8AC3E}">
        <p14:creationId xmlns:p14="http://schemas.microsoft.com/office/powerpoint/2010/main" val="29588322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uild Foundation </a:t>
            </a:r>
            <a:r>
              <a:rPr lang="en-US" dirty="0"/>
              <a:t>–</a:t>
            </a:r>
          </a:p>
          <a:p>
            <a:r>
              <a:rPr lang="en-US" dirty="0"/>
              <a:t>	Defined a Missions statement!!!</a:t>
            </a:r>
          </a:p>
          <a:p>
            <a:r>
              <a:rPr lang="en-US" dirty="0"/>
              <a:t>	Standardize documenting test cases in VSTS then and ADO now</a:t>
            </a:r>
          </a:p>
          <a:p>
            <a:r>
              <a:rPr lang="en-US" dirty="0"/>
              <a:t>	Using record and play tools to automate front-end (team did not have programming skillset at the time)</a:t>
            </a:r>
          </a:p>
          <a:p>
            <a:r>
              <a:rPr lang="en-US" dirty="0"/>
              <a:t>	Outsourcing automation on a product that didn’t make sense (not many releases, not tested often, and ended up being re-written)  - prior manager set this up</a:t>
            </a:r>
          </a:p>
          <a:p>
            <a:r>
              <a:rPr lang="en-US" dirty="0"/>
              <a:t>	Created an automation candidate checklist to understand what made sense to automate</a:t>
            </a:r>
          </a:p>
          <a:p>
            <a:r>
              <a:rPr lang="en-US" sz="1200" dirty="0"/>
              <a:t>	Embed Software Quality Resources</a:t>
            </a:r>
          </a:p>
        </p:txBody>
      </p:sp>
      <p:sp>
        <p:nvSpPr>
          <p:cNvPr id="4" name="Slide Number Placeholder 3"/>
          <p:cNvSpPr>
            <a:spLocks noGrp="1"/>
          </p:cNvSpPr>
          <p:nvPr>
            <p:ph type="sldNum" sz="quarter" idx="5"/>
          </p:nvPr>
        </p:nvSpPr>
        <p:spPr/>
        <p:txBody>
          <a:bodyPr/>
          <a:lstStyle/>
          <a:p>
            <a:fld id="{2EF886B2-D6EC-7140-8539-A6DBFCF04EBE}" type="slidenum">
              <a:rPr lang="en-US" smtClean="0"/>
              <a:t>5</a:t>
            </a:fld>
            <a:endParaRPr lang="en-US"/>
          </a:p>
        </p:txBody>
      </p:sp>
    </p:spTree>
    <p:extLst>
      <p:ext uri="{BB962C8B-B14F-4D97-AF65-F5344CB8AC3E}">
        <p14:creationId xmlns:p14="http://schemas.microsoft.com/office/powerpoint/2010/main" val="3364824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utomation Journey </a:t>
            </a:r>
            <a:r>
              <a:rPr lang="en-US" dirty="0"/>
              <a:t>– </a:t>
            </a:r>
          </a:p>
          <a:p>
            <a:r>
              <a:rPr lang="en-US" dirty="0"/>
              <a:t>	Decided to bring automation in house, but didn’t have skillsets to do it</a:t>
            </a:r>
          </a:p>
          <a:p>
            <a:r>
              <a:rPr lang="en-US" sz="1200" dirty="0"/>
              <a:t>	Upskill team to learn automated testing front/back end – held meetings to to educate on test case documentation, bug tracking process in ADO, test case documentation, front-end and back-end automation using POM code, and GIT (source control repo)</a:t>
            </a:r>
          </a:p>
          <a:p>
            <a:r>
              <a:rPr lang="en-US" sz="1200" dirty="0"/>
              <a:t>	</a:t>
            </a:r>
            <a:r>
              <a:rPr lang="en-US" dirty="0"/>
              <a:t>Influenced leadership to hire contractors with skills and targeted API initially as experience had shown that UI is more vulnerable</a:t>
            </a:r>
          </a:p>
          <a:p>
            <a:r>
              <a:rPr lang="en-US" dirty="0"/>
              <a:t>	M2Go (Green product) – Mobile app that allows customers restaurant food through pick up and delivery – saw an opportunity as the team wanted to be agile and CI\CD</a:t>
            </a:r>
          </a:p>
          <a:p>
            <a:r>
              <a:rPr lang="en-US" dirty="0"/>
              <a:t>	</a:t>
            </a:r>
            <a:r>
              <a:rPr lang="en-US" sz="1200" dirty="0"/>
              <a:t>Begin with API automation vs. UI (development does Unit Tests)</a:t>
            </a:r>
          </a:p>
          <a:p>
            <a:r>
              <a:rPr lang="en-US" sz="1200" dirty="0"/>
              <a:t>	Integrate into development release pipelines</a:t>
            </a:r>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6</a:t>
            </a:fld>
            <a:endParaRPr lang="en-US"/>
          </a:p>
        </p:txBody>
      </p:sp>
    </p:spTree>
    <p:extLst>
      <p:ext uri="{BB962C8B-B14F-4D97-AF65-F5344CB8AC3E}">
        <p14:creationId xmlns:p14="http://schemas.microsoft.com/office/powerpoint/2010/main" val="36887175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tandardize Automation Tools </a:t>
            </a:r>
            <a:r>
              <a:rPr lang="en-US" dirty="0"/>
              <a:t>– </a:t>
            </a:r>
          </a:p>
          <a:p>
            <a:r>
              <a:rPr lang="en-US" dirty="0"/>
              <a:t>	Wrote up wiki’s that establish guidelines to test approach within current tools (ADO), best practices for test cases and naming conventions to writing code, etc.</a:t>
            </a:r>
          </a:p>
          <a:p>
            <a:r>
              <a:rPr lang="en-US" dirty="0"/>
              <a:t>	Began to standardize tools here after trial and error</a:t>
            </a:r>
          </a:p>
          <a:p>
            <a:r>
              <a:rPr lang="en-US" dirty="0"/>
              <a:t>	Selenium with Appium for mobile apps</a:t>
            </a:r>
          </a:p>
          <a:p>
            <a:r>
              <a:rPr lang="en-US" dirty="0"/>
              <a:t>	Native apps – </a:t>
            </a:r>
            <a:r>
              <a:rPr lang="en-US" dirty="0" err="1"/>
              <a:t>xCode</a:t>
            </a:r>
            <a:r>
              <a:rPr lang="en-US" dirty="0"/>
              <a:t> (iOS) and Xamarin (android)</a:t>
            </a:r>
          </a:p>
          <a:p>
            <a:r>
              <a:rPr lang="en-US" dirty="0"/>
              <a:t>	C# </a:t>
            </a:r>
            <a:r>
              <a:rPr lang="en-US" dirty="0" err="1"/>
              <a:t>.Net</a:t>
            </a:r>
            <a:r>
              <a:rPr lang="en-US" dirty="0"/>
              <a:t> for API</a:t>
            </a:r>
          </a:p>
        </p:txBody>
      </p:sp>
      <p:sp>
        <p:nvSpPr>
          <p:cNvPr id="4" name="Slide Number Placeholder 3"/>
          <p:cNvSpPr>
            <a:spLocks noGrp="1"/>
          </p:cNvSpPr>
          <p:nvPr>
            <p:ph type="sldNum" sz="quarter" idx="5"/>
          </p:nvPr>
        </p:nvSpPr>
        <p:spPr/>
        <p:txBody>
          <a:bodyPr/>
          <a:lstStyle/>
          <a:p>
            <a:fld id="{2EF886B2-D6EC-7140-8539-A6DBFCF04EBE}" type="slidenum">
              <a:rPr lang="en-US" smtClean="0"/>
              <a:t>7</a:t>
            </a:fld>
            <a:endParaRPr lang="en-US"/>
          </a:p>
        </p:txBody>
      </p:sp>
    </p:spTree>
    <p:extLst>
      <p:ext uri="{BB962C8B-B14F-4D97-AF65-F5344CB8AC3E}">
        <p14:creationId xmlns:p14="http://schemas.microsoft.com/office/powerpoint/2010/main" val="3330114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Mature in automated testing </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200" dirty="0"/>
              <a:t>Define Metrics to Measure</a:t>
            </a:r>
            <a:endParaRPr lang="en-US" dirty="0"/>
          </a:p>
          <a:p>
            <a:r>
              <a:rPr lang="en-US" dirty="0"/>
              <a:t>	</a:t>
            </a:r>
            <a:r>
              <a:rPr lang="en-US" sz="1200" dirty="0"/>
              <a:t>Data Injection/Tear Down</a:t>
            </a:r>
            <a:endParaRPr lang="en-US" dirty="0"/>
          </a:p>
          <a:p>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8</a:t>
            </a:fld>
            <a:endParaRPr lang="en-US"/>
          </a:p>
        </p:txBody>
      </p:sp>
    </p:spTree>
    <p:extLst>
      <p:ext uri="{BB962C8B-B14F-4D97-AF65-F5344CB8AC3E}">
        <p14:creationId xmlns:p14="http://schemas.microsoft.com/office/powerpoint/2010/main" val="3231155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idespread Adoption and Metrics </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sz="1200" dirty="0"/>
              <a:t>Create a Continuous Testing Assessment and use this to help teams build in continuous testing</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	Create a Software Quality CoP – establish a community that creates an environment for people to learn and guide them on appropriate practices within the depart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	Begin to standardize metrics – started with DRE (Defect removal Efficiency)</a:t>
            </a:r>
            <a:endParaRPr lang="en-US" dirty="0"/>
          </a:p>
          <a:p>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9</a:t>
            </a:fld>
            <a:endParaRPr lang="en-US"/>
          </a:p>
        </p:txBody>
      </p:sp>
    </p:spTree>
    <p:extLst>
      <p:ext uri="{BB962C8B-B14F-4D97-AF65-F5344CB8AC3E}">
        <p14:creationId xmlns:p14="http://schemas.microsoft.com/office/powerpoint/2010/main" val="152827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eople</a:t>
            </a:r>
            <a:r>
              <a:rPr lang="en-US" dirty="0"/>
              <a:t> – </a:t>
            </a:r>
          </a:p>
          <a:p>
            <a:r>
              <a:rPr lang="en-US" dirty="0"/>
              <a:t>	</a:t>
            </a:r>
            <a:r>
              <a:rPr lang="en-US" b="1" dirty="0"/>
              <a:t>Mission Statement </a:t>
            </a:r>
            <a:r>
              <a:rPr lang="en-US" dirty="0"/>
              <a:t>– Define a Mission Statement for people to work towards</a:t>
            </a:r>
          </a:p>
          <a:p>
            <a:r>
              <a:rPr lang="en-US" dirty="0"/>
              <a:t>	</a:t>
            </a:r>
            <a:r>
              <a:rPr lang="en-US" b="1" dirty="0"/>
              <a:t>Embed</a:t>
            </a:r>
            <a:r>
              <a:rPr lang="en-US" dirty="0"/>
              <a:t> – Went to managers and told them they have a dedicated resource….but there’s a catch!!! If you get a QA resource then you need to bring them into all dev discussions (stand-ups, US grooming (acceptance criteria and Story pointing), etc.). (begin the shift to Agile)</a:t>
            </a:r>
          </a:p>
          <a:p>
            <a:r>
              <a:rPr lang="en-US" b="1" dirty="0"/>
              <a:t>Test Approach </a:t>
            </a:r>
            <a:r>
              <a:rPr lang="en-US" dirty="0"/>
              <a:t>– </a:t>
            </a:r>
          </a:p>
          <a:p>
            <a:r>
              <a:rPr lang="en-US" dirty="0"/>
              <a:t>	</a:t>
            </a:r>
            <a:r>
              <a:rPr lang="en-US" b="1" dirty="0"/>
              <a:t>Standardize</a:t>
            </a:r>
            <a:r>
              <a:rPr lang="en-US" dirty="0"/>
              <a:t> – Test Cases in ADO, Link to User Stories (important to build foundation for metrics once in release pipeline)</a:t>
            </a:r>
          </a:p>
          <a:p>
            <a:r>
              <a:rPr lang="en-US" dirty="0"/>
              <a:t>	</a:t>
            </a:r>
            <a:r>
              <a:rPr lang="en-US" b="1" dirty="0"/>
              <a:t>Outsource</a:t>
            </a:r>
            <a:r>
              <a:rPr lang="en-US" dirty="0"/>
              <a:t> – prior manager had hired company to do automation for us using Test Complete on a product we ended up re-writing completely. Vendor was too time consuming to transfer knowledge and didn’t write the code in an architecturally good way (hard coded values, code was re-written throughout etc.) This is when I realized it was more time consuming to have someone else write our automation than to do it ourselves. I just didn’t have the appropriate skillsets on the team yet.</a:t>
            </a:r>
          </a:p>
          <a:p>
            <a:r>
              <a:rPr lang="en-US" dirty="0"/>
              <a:t>	</a:t>
            </a:r>
            <a:r>
              <a:rPr lang="en-US" b="1" dirty="0"/>
              <a:t>Started with UI Automation and Test Complete </a:t>
            </a:r>
            <a:r>
              <a:rPr lang="en-US" dirty="0"/>
              <a:t>– this turned out to be more unstable and harder to do. We used TC as record and play because skill did not exist on team</a:t>
            </a:r>
          </a:p>
          <a:p>
            <a:r>
              <a:rPr lang="en-US" b="1" dirty="0"/>
              <a:t>Tools</a:t>
            </a:r>
            <a:r>
              <a:rPr lang="en-US" dirty="0"/>
              <a:t> – </a:t>
            </a:r>
          </a:p>
          <a:p>
            <a:r>
              <a:rPr lang="en-US" dirty="0"/>
              <a:t>	</a:t>
            </a:r>
            <a:r>
              <a:rPr lang="en-US" b="1" dirty="0"/>
              <a:t>Test Complete </a:t>
            </a:r>
            <a:r>
              <a:rPr lang="en-US" dirty="0"/>
              <a:t>was a record and play tool to automate Front-End systems for users who have little experience coding</a:t>
            </a:r>
          </a:p>
        </p:txBody>
      </p:sp>
      <p:sp>
        <p:nvSpPr>
          <p:cNvPr id="4" name="Slide Number Placeholder 3"/>
          <p:cNvSpPr>
            <a:spLocks noGrp="1"/>
          </p:cNvSpPr>
          <p:nvPr>
            <p:ph type="sldNum" sz="quarter" idx="5"/>
          </p:nvPr>
        </p:nvSpPr>
        <p:spPr/>
        <p:txBody>
          <a:bodyPr/>
          <a:lstStyle/>
          <a:p>
            <a:fld id="{2EF886B2-D6EC-7140-8539-A6DBFCF04EBE}" type="slidenum">
              <a:rPr lang="en-US" smtClean="0"/>
              <a:t>10</a:t>
            </a:fld>
            <a:endParaRPr lang="en-US"/>
          </a:p>
        </p:txBody>
      </p:sp>
    </p:spTree>
    <p:extLst>
      <p:ext uri="{BB962C8B-B14F-4D97-AF65-F5344CB8AC3E}">
        <p14:creationId xmlns:p14="http://schemas.microsoft.com/office/powerpoint/2010/main" val="4108891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EF886B2-D6EC-7140-8539-A6DBFCF04EBE}" type="slidenum">
              <a:rPr lang="en-US" smtClean="0"/>
              <a:t>11</a:t>
            </a:fld>
            <a:endParaRPr lang="en-US"/>
          </a:p>
        </p:txBody>
      </p:sp>
    </p:spTree>
    <p:extLst>
      <p:ext uri="{BB962C8B-B14F-4D97-AF65-F5344CB8AC3E}">
        <p14:creationId xmlns:p14="http://schemas.microsoft.com/office/powerpoint/2010/main" val="20510686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289758-E308-4441-9FB8-79E7709AF4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54074FA-29BF-EB42-BDB2-9E96197447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1C45B88-8ED2-FF4E-BF6C-BFEDDE51BC7B}"/>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5" name="Footer Placeholder 4">
            <a:extLst>
              <a:ext uri="{FF2B5EF4-FFF2-40B4-BE49-F238E27FC236}">
                <a16:creationId xmlns:a16="http://schemas.microsoft.com/office/drawing/2014/main" id="{15FF61BF-6995-784A-B259-29FCCFE347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A256C3-9435-534C-83E3-F178D4B6FE45}"/>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41222115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96DA4-1776-F748-9D76-E9842DB0036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F573028-00B3-F74E-AB27-E2F893ACD38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058750-0C7C-9C45-8903-AF63629C8F52}"/>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5" name="Footer Placeholder 4">
            <a:extLst>
              <a:ext uri="{FF2B5EF4-FFF2-40B4-BE49-F238E27FC236}">
                <a16:creationId xmlns:a16="http://schemas.microsoft.com/office/drawing/2014/main" id="{9061EC3A-9D5B-074E-8097-7617C0E569A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7B3E68E-6626-5841-84B9-BD2BBDC658D5}"/>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5899750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AC69B59-419B-3640-81A7-3923EC4D182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4B9C88D-B4D3-7041-BC42-8E0F0F78A91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65BB06-B940-1345-A037-590E95D8DDA9}"/>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5" name="Footer Placeholder 4">
            <a:extLst>
              <a:ext uri="{FF2B5EF4-FFF2-40B4-BE49-F238E27FC236}">
                <a16:creationId xmlns:a16="http://schemas.microsoft.com/office/drawing/2014/main" id="{10C900B1-A009-7C42-9EAB-124168F984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4F7348-9F1A-2C47-8B7F-95E0AD8AED26}"/>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41619076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75734" y="185266"/>
            <a:ext cx="11040533" cy="698500"/>
          </a:xfrm>
          <a:prstGeom prst="rect">
            <a:avLst/>
          </a:prstGeom>
        </p:spPr>
        <p:txBody>
          <a:bodyPr vert="horz" anchor="ctr"/>
          <a:lstStyle>
            <a:lvl1pPr marL="0" indent="0" algn="l">
              <a:buNone/>
              <a:defRPr sz="3200" b="0">
                <a:solidFill>
                  <a:srgbClr val="080808"/>
                </a:solidFill>
                <a:latin typeface="Calibri" panose="020F0502020204030204" pitchFamily="34" charset="0"/>
                <a:cs typeface="Calibri" panose="020F0502020204030204" pitchFamily="34" charset="0"/>
              </a:defRPr>
            </a:lvl1pPr>
            <a:lvl2pPr>
              <a:defRPr>
                <a:latin typeface="Roboto Black"/>
                <a:cs typeface="Roboto Black"/>
              </a:defRPr>
            </a:lvl2pPr>
            <a:lvl3pPr>
              <a:defRPr>
                <a:latin typeface="Roboto Black"/>
                <a:cs typeface="Roboto Black"/>
              </a:defRPr>
            </a:lvl3pPr>
            <a:lvl4pPr>
              <a:defRPr>
                <a:latin typeface="Roboto Black"/>
                <a:cs typeface="Roboto Black"/>
              </a:defRPr>
            </a:lvl4pPr>
            <a:lvl5pPr>
              <a:defRPr>
                <a:latin typeface="Roboto Black"/>
                <a:cs typeface="Roboto Black"/>
              </a:defRPr>
            </a:lvl5pPr>
          </a:lstStyle>
          <a:p>
            <a:pPr lvl="0"/>
            <a:endParaRPr lang="en-US" dirty="0"/>
          </a:p>
        </p:txBody>
      </p:sp>
    </p:spTree>
    <p:extLst>
      <p:ext uri="{BB962C8B-B14F-4D97-AF65-F5344CB8AC3E}">
        <p14:creationId xmlns:p14="http://schemas.microsoft.com/office/powerpoint/2010/main" val="24859753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44972" y="371475"/>
            <a:ext cx="10515600" cy="676275"/>
          </a:xfrm>
        </p:spPr>
        <p:txBody>
          <a:bodyPr lIns="0" tIns="0" rIns="0" bIns="0">
            <a:normAutofit/>
          </a:bodyPr>
          <a:lstStyle>
            <a:lvl1pPr>
              <a:defRPr sz="3200"/>
            </a:lvl1pPr>
          </a:lstStyle>
          <a:p>
            <a:r>
              <a:rPr lang="en-US" dirty="0"/>
              <a:t>CLICK TO EDIT MASTER TITLE STYLE</a:t>
            </a:r>
          </a:p>
        </p:txBody>
      </p:sp>
      <p:sp>
        <p:nvSpPr>
          <p:cNvPr id="7" name="Oval 6"/>
          <p:cNvSpPr/>
          <p:nvPr userDrawn="1"/>
        </p:nvSpPr>
        <p:spPr>
          <a:xfrm>
            <a:off x="544972" y="1097422"/>
            <a:ext cx="195930" cy="19593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p:cNvSpPr/>
          <p:nvPr userDrawn="1"/>
        </p:nvSpPr>
        <p:spPr>
          <a:xfrm>
            <a:off x="859297" y="1097422"/>
            <a:ext cx="195930" cy="1959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p:cNvSpPr/>
          <p:nvPr userDrawn="1"/>
        </p:nvSpPr>
        <p:spPr>
          <a:xfrm>
            <a:off x="1173622" y="1097422"/>
            <a:ext cx="195930" cy="1959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392319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28003-BB07-E14F-AC68-54ECC1EA44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33AF2E8-3BE0-EE40-8B2A-B07467A5761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C68DEB-BECA-2340-AB77-26627DB172D6}"/>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5" name="Footer Placeholder 4">
            <a:extLst>
              <a:ext uri="{FF2B5EF4-FFF2-40B4-BE49-F238E27FC236}">
                <a16:creationId xmlns:a16="http://schemas.microsoft.com/office/drawing/2014/main" id="{28183B1E-9C28-4344-92A6-D987C87A92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7DC1A5-179D-5D43-9961-EBEABE0DA0E8}"/>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125925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88407E-CCE3-654C-BDA2-2D211C6813C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0199789-C955-6646-A430-5BD172420F7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F5012BD-3CEA-8241-AB3F-6A8DC24665FB}"/>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5" name="Footer Placeholder 4">
            <a:extLst>
              <a:ext uri="{FF2B5EF4-FFF2-40B4-BE49-F238E27FC236}">
                <a16:creationId xmlns:a16="http://schemas.microsoft.com/office/drawing/2014/main" id="{5A6BCD59-A985-3D4C-91FA-CCF24593F0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69AD109-8F6D-4044-84B2-80BDB313611D}"/>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10763642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F40EDF-2864-DE46-AC15-29F1518093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86063A-68C5-F346-A87C-F72B6C20C1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99BC9D1-3F8F-5646-AF72-EFC4ACAB015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95CC19-3E90-F84B-B616-D548B56FA23D}"/>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6" name="Footer Placeholder 5">
            <a:extLst>
              <a:ext uri="{FF2B5EF4-FFF2-40B4-BE49-F238E27FC236}">
                <a16:creationId xmlns:a16="http://schemas.microsoft.com/office/drawing/2014/main" id="{84CED7E9-CEB1-AC4E-8723-982DF5B63B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20F79A-2E2D-E54A-A9FF-7BFA50844709}"/>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38819456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6889D-BDFB-6942-A397-4313F75EE17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32D541B-4208-D549-8D59-E385915350F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0DABF94-EF7E-5F46-B61B-106F81FECFF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B73D6BF-6363-E145-A62A-79A2D0702B4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E4E5EA6-EBC6-8048-9744-188FDC2EA4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B3BDF44-6484-9742-9223-2E11D57641CE}"/>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8" name="Footer Placeholder 7">
            <a:extLst>
              <a:ext uri="{FF2B5EF4-FFF2-40B4-BE49-F238E27FC236}">
                <a16:creationId xmlns:a16="http://schemas.microsoft.com/office/drawing/2014/main" id="{410711D5-D57F-D54B-8BD4-3B8AE2551D6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5B700B-9D92-6744-80EF-B428B7778B60}"/>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228746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463C4E-30F3-0C44-ABBC-AE1F51C0C17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9C06329-0A5B-1E44-82ED-C99A1983A652}"/>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4" name="Footer Placeholder 3">
            <a:extLst>
              <a:ext uri="{FF2B5EF4-FFF2-40B4-BE49-F238E27FC236}">
                <a16:creationId xmlns:a16="http://schemas.microsoft.com/office/drawing/2014/main" id="{40DEB4D1-9390-4141-9C9A-085AE9A0F31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3D51DE-4A5F-AF4B-93BF-D24FEE2B7749}"/>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34012780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09FCDD4-34FF-E945-9BFE-18BE09DC6A3C}"/>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3" name="Footer Placeholder 2">
            <a:extLst>
              <a:ext uri="{FF2B5EF4-FFF2-40B4-BE49-F238E27FC236}">
                <a16:creationId xmlns:a16="http://schemas.microsoft.com/office/drawing/2014/main" id="{CC9582BC-F791-C548-A15F-68ADFFBB96F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FF68AC-BD2B-7341-A43F-918AE08DB70A}"/>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4955986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A18821-7440-2543-9818-F152AFD660E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A86586D-B81D-8740-B8D3-0D557ACC13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0C2C804-E77A-5943-B8EB-8A4D7C2F19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01269DA-F266-CA4C-ACE4-82A63646407B}"/>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6" name="Footer Placeholder 5">
            <a:extLst>
              <a:ext uri="{FF2B5EF4-FFF2-40B4-BE49-F238E27FC236}">
                <a16:creationId xmlns:a16="http://schemas.microsoft.com/office/drawing/2014/main" id="{27CF18F2-3023-AE40-8291-71AA0FE794D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56BAEA-A451-E846-9F76-7D657AAB6ACB}"/>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3593222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7EC57-A8EB-5242-B49C-F2D91E6342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B7FDAF5-C87D-9E4C-9A1B-6CD2325F78F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904FE0A-D018-0845-A9F1-8EE523AAB53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2761E9-66E3-004C-9786-CFE3BB19BA8F}"/>
              </a:ext>
            </a:extLst>
          </p:cNvPr>
          <p:cNvSpPr>
            <a:spLocks noGrp="1"/>
          </p:cNvSpPr>
          <p:nvPr>
            <p:ph type="dt" sz="half" idx="10"/>
          </p:nvPr>
        </p:nvSpPr>
        <p:spPr/>
        <p:txBody>
          <a:bodyPr/>
          <a:lstStyle/>
          <a:p>
            <a:fld id="{FC496A20-D951-9D4A-8447-0F18E1CCF5B5}" type="datetimeFigureOut">
              <a:rPr lang="en-US" smtClean="0"/>
              <a:t>11/11/22</a:t>
            </a:fld>
            <a:endParaRPr lang="en-US"/>
          </a:p>
        </p:txBody>
      </p:sp>
      <p:sp>
        <p:nvSpPr>
          <p:cNvPr id="6" name="Footer Placeholder 5">
            <a:extLst>
              <a:ext uri="{FF2B5EF4-FFF2-40B4-BE49-F238E27FC236}">
                <a16:creationId xmlns:a16="http://schemas.microsoft.com/office/drawing/2014/main" id="{1A3087B8-3838-1E4B-83E9-4BBE3EDF4FE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E07E70-7350-8B48-A2C6-A5864EF1054A}"/>
              </a:ext>
            </a:extLst>
          </p:cNvPr>
          <p:cNvSpPr>
            <a:spLocks noGrp="1"/>
          </p:cNvSpPr>
          <p:nvPr>
            <p:ph type="sldNum" sz="quarter" idx="12"/>
          </p:nvPr>
        </p:nvSpPr>
        <p:spPr/>
        <p:txBody>
          <a:bodyPr/>
          <a:lstStyle/>
          <a:p>
            <a:fld id="{1AEB62A4-6D21-2544-A937-349E165ABA66}" type="slidenum">
              <a:rPr lang="en-US" smtClean="0"/>
              <a:t>‹#›</a:t>
            </a:fld>
            <a:endParaRPr lang="en-US"/>
          </a:p>
        </p:txBody>
      </p:sp>
    </p:spTree>
    <p:extLst>
      <p:ext uri="{BB962C8B-B14F-4D97-AF65-F5344CB8AC3E}">
        <p14:creationId xmlns:p14="http://schemas.microsoft.com/office/powerpoint/2010/main" val="22096490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4B2F2BB-9E48-C349-A302-57103E19E1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780DBBF-C633-F245-840B-2A6712F791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D4BED1-CEAC-1F47-892A-970E313C53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496A20-D951-9D4A-8447-0F18E1CCF5B5}" type="datetimeFigureOut">
              <a:rPr lang="en-US" smtClean="0"/>
              <a:t>11/11/22</a:t>
            </a:fld>
            <a:endParaRPr lang="en-US"/>
          </a:p>
        </p:txBody>
      </p:sp>
      <p:sp>
        <p:nvSpPr>
          <p:cNvPr id="5" name="Footer Placeholder 4">
            <a:extLst>
              <a:ext uri="{FF2B5EF4-FFF2-40B4-BE49-F238E27FC236}">
                <a16:creationId xmlns:a16="http://schemas.microsoft.com/office/drawing/2014/main" id="{CE03A990-6C18-1B44-9112-A291E246FC5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1F6F8B-C224-F042-86D2-5C29BC2B9A9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EB62A4-6D21-2544-A937-349E165ABA66}" type="slidenum">
              <a:rPr lang="en-US" smtClean="0"/>
              <a:t>‹#›</a:t>
            </a:fld>
            <a:endParaRPr lang="en-US"/>
          </a:p>
        </p:txBody>
      </p:sp>
    </p:spTree>
    <p:extLst>
      <p:ext uri="{BB962C8B-B14F-4D97-AF65-F5344CB8AC3E}">
        <p14:creationId xmlns:p14="http://schemas.microsoft.com/office/powerpoint/2010/main" val="29134315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3.xml"/><Relationship Id="rId5" Type="http://schemas.openxmlformats.org/officeDocument/2006/relationships/image" Target="../media/image13.sv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13.svg"/><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18.sv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4.xml"/><Relationship Id="rId1" Type="http://schemas.openxmlformats.org/officeDocument/2006/relationships/slideLayout" Target="../slideLayouts/slideLayout13.xml"/><Relationship Id="rId5" Type="http://schemas.openxmlformats.org/officeDocument/2006/relationships/image" Target="../media/image21.svg"/><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image" Target="../media/image4.jpg"/><Relationship Id="rId7" Type="http://schemas.openxmlformats.org/officeDocument/2006/relationships/image" Target="../media/image8.jp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7.jpg"/><Relationship Id="rId5" Type="http://schemas.openxmlformats.org/officeDocument/2006/relationships/image" Target="../media/image6.jpg"/><Relationship Id="rId4" Type="http://schemas.openxmlformats.org/officeDocument/2006/relationships/image" Target="../media/image5.jpg"/></Relationships>
</file>

<file path=ppt/slides/_rels/slide20.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jpg"/><Relationship Id="rId4" Type="http://schemas.openxmlformats.org/officeDocument/2006/relationships/image" Target="../media/image13.sv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jpg"/><Relationship Id="rId4" Type="http://schemas.openxmlformats.org/officeDocument/2006/relationships/image" Target="../media/image13.svg"/></Relationships>
</file>

<file path=ppt/slides/_rels/slide7.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image" Target="../media/image16.png"/><Relationship Id="rId7" Type="http://schemas.openxmlformats.org/officeDocument/2006/relationships/image" Target="../media/image18.sv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7.png"/><Relationship Id="rId5" Type="http://schemas.openxmlformats.org/officeDocument/2006/relationships/image" Target="../media/image13.sv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image" Target="../media/image19.png"/><Relationship Id="rId7" Type="http://schemas.openxmlformats.org/officeDocument/2006/relationships/image" Target="../media/image18.sv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17.png"/><Relationship Id="rId5" Type="http://schemas.openxmlformats.org/officeDocument/2006/relationships/image" Target="../media/image13.sv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image" Target="../media/image19.png"/><Relationship Id="rId7" Type="http://schemas.openxmlformats.org/officeDocument/2006/relationships/image" Target="../media/image18.sv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17.png"/><Relationship Id="rId5" Type="http://schemas.openxmlformats.org/officeDocument/2006/relationships/image" Target="../media/image13.svg"/><Relationship Id="rId10" Type="http://schemas.openxmlformats.org/officeDocument/2006/relationships/image" Target="../media/image21.svg"/><Relationship Id="rId4" Type="http://schemas.openxmlformats.org/officeDocument/2006/relationships/image" Target="../media/image12.png"/><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C232B152-3720-4D3B-97ED-45CE5483F1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11BAB570-FF10-4E96-8A3F-FA9804702B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0" y="0"/>
            <a:ext cx="4693698" cy="6858000"/>
          </a:xfrm>
          <a:custGeom>
            <a:avLst/>
            <a:gdLst>
              <a:gd name="connsiteX0" fmla="*/ 0 w 4693698"/>
              <a:gd name="connsiteY0" fmla="*/ 0 h 6858000"/>
              <a:gd name="connsiteX1" fmla="*/ 420914 w 4693698"/>
              <a:gd name="connsiteY1" fmla="*/ 0 h 6858000"/>
              <a:gd name="connsiteX2" fmla="*/ 1582057 w 4693698"/>
              <a:gd name="connsiteY2" fmla="*/ 0 h 6858000"/>
              <a:gd name="connsiteX3" fmla="*/ 4503903 w 4693698"/>
              <a:gd name="connsiteY3" fmla="*/ 0 h 6858000"/>
              <a:gd name="connsiteX4" fmla="*/ 4508943 w 4693698"/>
              <a:gd name="connsiteY4" fmla="*/ 66675 h 6858000"/>
              <a:gd name="connsiteX5" fmla="*/ 4517340 w 4693698"/>
              <a:gd name="connsiteY5" fmla="*/ 122237 h 6858000"/>
              <a:gd name="connsiteX6" fmla="*/ 4527418 w 4693698"/>
              <a:gd name="connsiteY6" fmla="*/ 174625 h 6858000"/>
              <a:gd name="connsiteX7" fmla="*/ 4544214 w 4693698"/>
              <a:gd name="connsiteY7" fmla="*/ 217487 h 6858000"/>
              <a:gd name="connsiteX8" fmla="*/ 4561010 w 4693698"/>
              <a:gd name="connsiteY8" fmla="*/ 260350 h 6858000"/>
              <a:gd name="connsiteX9" fmla="*/ 4581165 w 4693698"/>
              <a:gd name="connsiteY9" fmla="*/ 296862 h 6858000"/>
              <a:gd name="connsiteX10" fmla="*/ 4601320 w 4693698"/>
              <a:gd name="connsiteY10" fmla="*/ 334962 h 6858000"/>
              <a:gd name="connsiteX11" fmla="*/ 4619796 w 4693698"/>
              <a:gd name="connsiteY11" fmla="*/ 369887 h 6858000"/>
              <a:gd name="connsiteX12" fmla="*/ 4638271 w 4693698"/>
              <a:gd name="connsiteY12" fmla="*/ 409575 h 6858000"/>
              <a:gd name="connsiteX13" fmla="*/ 4655067 w 4693698"/>
              <a:gd name="connsiteY13" fmla="*/ 450850 h 6858000"/>
              <a:gd name="connsiteX14" fmla="*/ 4670184 w 4693698"/>
              <a:gd name="connsiteY14" fmla="*/ 496887 h 6858000"/>
              <a:gd name="connsiteX15" fmla="*/ 4681941 w 4693698"/>
              <a:gd name="connsiteY15" fmla="*/ 546100 h 6858000"/>
              <a:gd name="connsiteX16" fmla="*/ 4690339 w 4693698"/>
              <a:gd name="connsiteY16" fmla="*/ 606425 h 6858000"/>
              <a:gd name="connsiteX17" fmla="*/ 4693698 w 4693698"/>
              <a:gd name="connsiteY17" fmla="*/ 673100 h 6858000"/>
              <a:gd name="connsiteX18" fmla="*/ 4690339 w 4693698"/>
              <a:gd name="connsiteY18" fmla="*/ 744537 h 6858000"/>
              <a:gd name="connsiteX19" fmla="*/ 4681941 w 4693698"/>
              <a:gd name="connsiteY19" fmla="*/ 801687 h 6858000"/>
              <a:gd name="connsiteX20" fmla="*/ 4670184 w 4693698"/>
              <a:gd name="connsiteY20" fmla="*/ 854075 h 6858000"/>
              <a:gd name="connsiteX21" fmla="*/ 4655067 w 4693698"/>
              <a:gd name="connsiteY21" fmla="*/ 901700 h 6858000"/>
              <a:gd name="connsiteX22" fmla="*/ 4638271 w 4693698"/>
              <a:gd name="connsiteY22" fmla="*/ 942975 h 6858000"/>
              <a:gd name="connsiteX23" fmla="*/ 4618116 w 4693698"/>
              <a:gd name="connsiteY23" fmla="*/ 981075 h 6858000"/>
              <a:gd name="connsiteX24" fmla="*/ 4597961 w 4693698"/>
              <a:gd name="connsiteY24" fmla="*/ 1017587 h 6858000"/>
              <a:gd name="connsiteX25" fmla="*/ 4577806 w 4693698"/>
              <a:gd name="connsiteY25" fmla="*/ 1055687 h 6858000"/>
              <a:gd name="connsiteX26" fmla="*/ 4559330 w 4693698"/>
              <a:gd name="connsiteY26" fmla="*/ 1095375 h 6858000"/>
              <a:gd name="connsiteX27" fmla="*/ 4540854 w 4693698"/>
              <a:gd name="connsiteY27" fmla="*/ 1136650 h 6858000"/>
              <a:gd name="connsiteX28" fmla="*/ 4525739 w 4693698"/>
              <a:gd name="connsiteY28" fmla="*/ 1182687 h 6858000"/>
              <a:gd name="connsiteX29" fmla="*/ 4515661 w 4693698"/>
              <a:gd name="connsiteY29" fmla="*/ 1235075 h 6858000"/>
              <a:gd name="connsiteX30" fmla="*/ 4505583 w 4693698"/>
              <a:gd name="connsiteY30" fmla="*/ 1295400 h 6858000"/>
              <a:gd name="connsiteX31" fmla="*/ 4503903 w 4693698"/>
              <a:gd name="connsiteY31" fmla="*/ 1363662 h 6858000"/>
              <a:gd name="connsiteX32" fmla="*/ 4505583 w 4693698"/>
              <a:gd name="connsiteY32" fmla="*/ 1431925 h 6858000"/>
              <a:gd name="connsiteX33" fmla="*/ 4515661 w 4693698"/>
              <a:gd name="connsiteY33" fmla="*/ 1492250 h 6858000"/>
              <a:gd name="connsiteX34" fmla="*/ 4525739 w 4693698"/>
              <a:gd name="connsiteY34" fmla="*/ 1544637 h 6858000"/>
              <a:gd name="connsiteX35" fmla="*/ 4540854 w 4693698"/>
              <a:gd name="connsiteY35" fmla="*/ 1589087 h 6858000"/>
              <a:gd name="connsiteX36" fmla="*/ 4559330 w 4693698"/>
              <a:gd name="connsiteY36" fmla="*/ 1631950 h 6858000"/>
              <a:gd name="connsiteX37" fmla="*/ 4577806 w 4693698"/>
              <a:gd name="connsiteY37" fmla="*/ 1671637 h 6858000"/>
              <a:gd name="connsiteX38" fmla="*/ 4597961 w 4693698"/>
              <a:gd name="connsiteY38" fmla="*/ 1708150 h 6858000"/>
              <a:gd name="connsiteX39" fmla="*/ 4618116 w 4693698"/>
              <a:gd name="connsiteY39" fmla="*/ 1743075 h 6858000"/>
              <a:gd name="connsiteX40" fmla="*/ 4638271 w 4693698"/>
              <a:gd name="connsiteY40" fmla="*/ 1782762 h 6858000"/>
              <a:gd name="connsiteX41" fmla="*/ 4655067 w 4693698"/>
              <a:gd name="connsiteY41" fmla="*/ 1824037 h 6858000"/>
              <a:gd name="connsiteX42" fmla="*/ 4670184 w 4693698"/>
              <a:gd name="connsiteY42" fmla="*/ 1870075 h 6858000"/>
              <a:gd name="connsiteX43" fmla="*/ 4681941 w 4693698"/>
              <a:gd name="connsiteY43" fmla="*/ 1922462 h 6858000"/>
              <a:gd name="connsiteX44" fmla="*/ 4690339 w 4693698"/>
              <a:gd name="connsiteY44" fmla="*/ 1982787 h 6858000"/>
              <a:gd name="connsiteX45" fmla="*/ 4693698 w 4693698"/>
              <a:gd name="connsiteY45" fmla="*/ 2051050 h 6858000"/>
              <a:gd name="connsiteX46" fmla="*/ 4690339 w 4693698"/>
              <a:gd name="connsiteY46" fmla="*/ 2119312 h 6858000"/>
              <a:gd name="connsiteX47" fmla="*/ 4681941 w 4693698"/>
              <a:gd name="connsiteY47" fmla="*/ 2179637 h 6858000"/>
              <a:gd name="connsiteX48" fmla="*/ 4670184 w 4693698"/>
              <a:gd name="connsiteY48" fmla="*/ 2232025 h 6858000"/>
              <a:gd name="connsiteX49" fmla="*/ 4655067 w 4693698"/>
              <a:gd name="connsiteY49" fmla="*/ 2278062 h 6858000"/>
              <a:gd name="connsiteX50" fmla="*/ 4638271 w 4693698"/>
              <a:gd name="connsiteY50" fmla="*/ 2319337 h 6858000"/>
              <a:gd name="connsiteX51" fmla="*/ 4618116 w 4693698"/>
              <a:gd name="connsiteY51" fmla="*/ 2359025 h 6858000"/>
              <a:gd name="connsiteX52" fmla="*/ 4597961 w 4693698"/>
              <a:gd name="connsiteY52" fmla="*/ 2395537 h 6858000"/>
              <a:gd name="connsiteX53" fmla="*/ 4577806 w 4693698"/>
              <a:gd name="connsiteY53" fmla="*/ 2433637 h 6858000"/>
              <a:gd name="connsiteX54" fmla="*/ 4559330 w 4693698"/>
              <a:gd name="connsiteY54" fmla="*/ 2471737 h 6858000"/>
              <a:gd name="connsiteX55" fmla="*/ 4540854 w 4693698"/>
              <a:gd name="connsiteY55" fmla="*/ 2513012 h 6858000"/>
              <a:gd name="connsiteX56" fmla="*/ 4525739 w 4693698"/>
              <a:gd name="connsiteY56" fmla="*/ 2560637 h 6858000"/>
              <a:gd name="connsiteX57" fmla="*/ 4515661 w 4693698"/>
              <a:gd name="connsiteY57" fmla="*/ 2613025 h 6858000"/>
              <a:gd name="connsiteX58" fmla="*/ 4505583 w 4693698"/>
              <a:gd name="connsiteY58" fmla="*/ 2671762 h 6858000"/>
              <a:gd name="connsiteX59" fmla="*/ 4503903 w 4693698"/>
              <a:gd name="connsiteY59" fmla="*/ 2741612 h 6858000"/>
              <a:gd name="connsiteX60" fmla="*/ 4505583 w 4693698"/>
              <a:gd name="connsiteY60" fmla="*/ 2809875 h 6858000"/>
              <a:gd name="connsiteX61" fmla="*/ 4515661 w 4693698"/>
              <a:gd name="connsiteY61" fmla="*/ 2868612 h 6858000"/>
              <a:gd name="connsiteX62" fmla="*/ 4525739 w 4693698"/>
              <a:gd name="connsiteY62" fmla="*/ 2922587 h 6858000"/>
              <a:gd name="connsiteX63" fmla="*/ 4540854 w 4693698"/>
              <a:gd name="connsiteY63" fmla="*/ 2967037 h 6858000"/>
              <a:gd name="connsiteX64" fmla="*/ 4559330 w 4693698"/>
              <a:gd name="connsiteY64" fmla="*/ 3009900 h 6858000"/>
              <a:gd name="connsiteX65" fmla="*/ 4577806 w 4693698"/>
              <a:gd name="connsiteY65" fmla="*/ 3046412 h 6858000"/>
              <a:gd name="connsiteX66" fmla="*/ 4597961 w 4693698"/>
              <a:gd name="connsiteY66" fmla="*/ 3084512 h 6858000"/>
              <a:gd name="connsiteX67" fmla="*/ 4618116 w 4693698"/>
              <a:gd name="connsiteY67" fmla="*/ 3121025 h 6858000"/>
              <a:gd name="connsiteX68" fmla="*/ 4638271 w 4693698"/>
              <a:gd name="connsiteY68" fmla="*/ 3160712 h 6858000"/>
              <a:gd name="connsiteX69" fmla="*/ 4655067 w 4693698"/>
              <a:gd name="connsiteY69" fmla="*/ 3201987 h 6858000"/>
              <a:gd name="connsiteX70" fmla="*/ 4670184 w 4693698"/>
              <a:gd name="connsiteY70" fmla="*/ 3248025 h 6858000"/>
              <a:gd name="connsiteX71" fmla="*/ 4681941 w 4693698"/>
              <a:gd name="connsiteY71" fmla="*/ 3300412 h 6858000"/>
              <a:gd name="connsiteX72" fmla="*/ 4690339 w 4693698"/>
              <a:gd name="connsiteY72" fmla="*/ 3360737 h 6858000"/>
              <a:gd name="connsiteX73" fmla="*/ 4693698 w 4693698"/>
              <a:gd name="connsiteY73" fmla="*/ 3427412 h 6858000"/>
              <a:gd name="connsiteX74" fmla="*/ 4690339 w 4693698"/>
              <a:gd name="connsiteY74" fmla="*/ 3497262 h 6858000"/>
              <a:gd name="connsiteX75" fmla="*/ 4681941 w 4693698"/>
              <a:gd name="connsiteY75" fmla="*/ 3557587 h 6858000"/>
              <a:gd name="connsiteX76" fmla="*/ 4670184 w 4693698"/>
              <a:gd name="connsiteY76" fmla="*/ 3609975 h 6858000"/>
              <a:gd name="connsiteX77" fmla="*/ 4655067 w 4693698"/>
              <a:gd name="connsiteY77" fmla="*/ 3656012 h 6858000"/>
              <a:gd name="connsiteX78" fmla="*/ 4638271 w 4693698"/>
              <a:gd name="connsiteY78" fmla="*/ 3697287 h 6858000"/>
              <a:gd name="connsiteX79" fmla="*/ 4618116 w 4693698"/>
              <a:gd name="connsiteY79" fmla="*/ 3736975 h 6858000"/>
              <a:gd name="connsiteX80" fmla="*/ 4577806 w 4693698"/>
              <a:gd name="connsiteY80" fmla="*/ 3811587 h 6858000"/>
              <a:gd name="connsiteX81" fmla="*/ 4559330 w 4693698"/>
              <a:gd name="connsiteY81" fmla="*/ 3848100 h 6858000"/>
              <a:gd name="connsiteX82" fmla="*/ 4540854 w 4693698"/>
              <a:gd name="connsiteY82" fmla="*/ 3890962 h 6858000"/>
              <a:gd name="connsiteX83" fmla="*/ 4525739 w 4693698"/>
              <a:gd name="connsiteY83" fmla="*/ 3935412 h 6858000"/>
              <a:gd name="connsiteX84" fmla="*/ 4515661 w 4693698"/>
              <a:gd name="connsiteY84" fmla="*/ 3987800 h 6858000"/>
              <a:gd name="connsiteX85" fmla="*/ 4505583 w 4693698"/>
              <a:gd name="connsiteY85" fmla="*/ 4048125 h 6858000"/>
              <a:gd name="connsiteX86" fmla="*/ 4503903 w 4693698"/>
              <a:gd name="connsiteY86" fmla="*/ 4116387 h 6858000"/>
              <a:gd name="connsiteX87" fmla="*/ 4505583 w 4693698"/>
              <a:gd name="connsiteY87" fmla="*/ 4186237 h 6858000"/>
              <a:gd name="connsiteX88" fmla="*/ 4515661 w 4693698"/>
              <a:gd name="connsiteY88" fmla="*/ 4244975 h 6858000"/>
              <a:gd name="connsiteX89" fmla="*/ 4525739 w 4693698"/>
              <a:gd name="connsiteY89" fmla="*/ 4297362 h 6858000"/>
              <a:gd name="connsiteX90" fmla="*/ 4540854 w 4693698"/>
              <a:gd name="connsiteY90" fmla="*/ 4343400 h 6858000"/>
              <a:gd name="connsiteX91" fmla="*/ 4559330 w 4693698"/>
              <a:gd name="connsiteY91" fmla="*/ 4386262 h 6858000"/>
              <a:gd name="connsiteX92" fmla="*/ 4577806 w 4693698"/>
              <a:gd name="connsiteY92" fmla="*/ 4424362 h 6858000"/>
              <a:gd name="connsiteX93" fmla="*/ 4618116 w 4693698"/>
              <a:gd name="connsiteY93" fmla="*/ 4498975 h 6858000"/>
              <a:gd name="connsiteX94" fmla="*/ 4638271 w 4693698"/>
              <a:gd name="connsiteY94" fmla="*/ 4537075 h 6858000"/>
              <a:gd name="connsiteX95" fmla="*/ 4655067 w 4693698"/>
              <a:gd name="connsiteY95" fmla="*/ 4579937 h 6858000"/>
              <a:gd name="connsiteX96" fmla="*/ 4670184 w 4693698"/>
              <a:gd name="connsiteY96" fmla="*/ 4625975 h 6858000"/>
              <a:gd name="connsiteX97" fmla="*/ 4681941 w 4693698"/>
              <a:gd name="connsiteY97" fmla="*/ 4678362 h 6858000"/>
              <a:gd name="connsiteX98" fmla="*/ 4690339 w 4693698"/>
              <a:gd name="connsiteY98" fmla="*/ 4738687 h 6858000"/>
              <a:gd name="connsiteX99" fmla="*/ 4693698 w 4693698"/>
              <a:gd name="connsiteY99" fmla="*/ 4806950 h 6858000"/>
              <a:gd name="connsiteX100" fmla="*/ 4690339 w 4693698"/>
              <a:gd name="connsiteY100" fmla="*/ 4875212 h 6858000"/>
              <a:gd name="connsiteX101" fmla="*/ 4681941 w 4693698"/>
              <a:gd name="connsiteY101" fmla="*/ 4935537 h 6858000"/>
              <a:gd name="connsiteX102" fmla="*/ 4670184 w 4693698"/>
              <a:gd name="connsiteY102" fmla="*/ 4987925 h 6858000"/>
              <a:gd name="connsiteX103" fmla="*/ 4655067 w 4693698"/>
              <a:gd name="connsiteY103" fmla="*/ 5033962 h 6858000"/>
              <a:gd name="connsiteX104" fmla="*/ 4638271 w 4693698"/>
              <a:gd name="connsiteY104" fmla="*/ 5075237 h 6858000"/>
              <a:gd name="connsiteX105" fmla="*/ 4618116 w 4693698"/>
              <a:gd name="connsiteY105" fmla="*/ 5114925 h 6858000"/>
              <a:gd name="connsiteX106" fmla="*/ 4597961 w 4693698"/>
              <a:gd name="connsiteY106" fmla="*/ 5149850 h 6858000"/>
              <a:gd name="connsiteX107" fmla="*/ 4577806 w 4693698"/>
              <a:gd name="connsiteY107" fmla="*/ 5186362 h 6858000"/>
              <a:gd name="connsiteX108" fmla="*/ 4559330 w 4693698"/>
              <a:gd name="connsiteY108" fmla="*/ 5226050 h 6858000"/>
              <a:gd name="connsiteX109" fmla="*/ 4540854 w 4693698"/>
              <a:gd name="connsiteY109" fmla="*/ 5268912 h 6858000"/>
              <a:gd name="connsiteX110" fmla="*/ 4525739 w 4693698"/>
              <a:gd name="connsiteY110" fmla="*/ 5313362 h 6858000"/>
              <a:gd name="connsiteX111" fmla="*/ 4515661 w 4693698"/>
              <a:gd name="connsiteY111" fmla="*/ 5365750 h 6858000"/>
              <a:gd name="connsiteX112" fmla="*/ 4505583 w 4693698"/>
              <a:gd name="connsiteY112" fmla="*/ 5426075 h 6858000"/>
              <a:gd name="connsiteX113" fmla="*/ 4503903 w 4693698"/>
              <a:gd name="connsiteY113" fmla="*/ 5494337 h 6858000"/>
              <a:gd name="connsiteX114" fmla="*/ 4505583 w 4693698"/>
              <a:gd name="connsiteY114" fmla="*/ 5562600 h 6858000"/>
              <a:gd name="connsiteX115" fmla="*/ 4515661 w 4693698"/>
              <a:gd name="connsiteY115" fmla="*/ 5622925 h 6858000"/>
              <a:gd name="connsiteX116" fmla="*/ 4525739 w 4693698"/>
              <a:gd name="connsiteY116" fmla="*/ 5675312 h 6858000"/>
              <a:gd name="connsiteX117" fmla="*/ 4540854 w 4693698"/>
              <a:gd name="connsiteY117" fmla="*/ 5721350 h 6858000"/>
              <a:gd name="connsiteX118" fmla="*/ 4559330 w 4693698"/>
              <a:gd name="connsiteY118" fmla="*/ 5762625 h 6858000"/>
              <a:gd name="connsiteX119" fmla="*/ 4577806 w 4693698"/>
              <a:gd name="connsiteY119" fmla="*/ 5802312 h 6858000"/>
              <a:gd name="connsiteX120" fmla="*/ 4597961 w 4693698"/>
              <a:gd name="connsiteY120" fmla="*/ 5840412 h 6858000"/>
              <a:gd name="connsiteX121" fmla="*/ 4618116 w 4693698"/>
              <a:gd name="connsiteY121" fmla="*/ 5876925 h 6858000"/>
              <a:gd name="connsiteX122" fmla="*/ 4638271 w 4693698"/>
              <a:gd name="connsiteY122" fmla="*/ 5915025 h 6858000"/>
              <a:gd name="connsiteX123" fmla="*/ 4655067 w 4693698"/>
              <a:gd name="connsiteY123" fmla="*/ 5956300 h 6858000"/>
              <a:gd name="connsiteX124" fmla="*/ 4670184 w 4693698"/>
              <a:gd name="connsiteY124" fmla="*/ 6003925 h 6858000"/>
              <a:gd name="connsiteX125" fmla="*/ 4681941 w 4693698"/>
              <a:gd name="connsiteY125" fmla="*/ 6056312 h 6858000"/>
              <a:gd name="connsiteX126" fmla="*/ 4690339 w 4693698"/>
              <a:gd name="connsiteY126" fmla="*/ 6113462 h 6858000"/>
              <a:gd name="connsiteX127" fmla="*/ 4693698 w 4693698"/>
              <a:gd name="connsiteY127" fmla="*/ 6183312 h 6858000"/>
              <a:gd name="connsiteX128" fmla="*/ 4690339 w 4693698"/>
              <a:gd name="connsiteY128" fmla="*/ 6251575 h 6858000"/>
              <a:gd name="connsiteX129" fmla="*/ 4681941 w 4693698"/>
              <a:gd name="connsiteY129" fmla="*/ 6311900 h 6858000"/>
              <a:gd name="connsiteX130" fmla="*/ 4670184 w 4693698"/>
              <a:gd name="connsiteY130" fmla="*/ 6361112 h 6858000"/>
              <a:gd name="connsiteX131" fmla="*/ 4655067 w 4693698"/>
              <a:gd name="connsiteY131" fmla="*/ 6407150 h 6858000"/>
              <a:gd name="connsiteX132" fmla="*/ 4638271 w 4693698"/>
              <a:gd name="connsiteY132" fmla="*/ 6448425 h 6858000"/>
              <a:gd name="connsiteX133" fmla="*/ 4619796 w 4693698"/>
              <a:gd name="connsiteY133" fmla="*/ 6488112 h 6858000"/>
              <a:gd name="connsiteX134" fmla="*/ 4601320 w 4693698"/>
              <a:gd name="connsiteY134" fmla="*/ 6523037 h 6858000"/>
              <a:gd name="connsiteX135" fmla="*/ 4581165 w 4693698"/>
              <a:gd name="connsiteY135" fmla="*/ 6561137 h 6858000"/>
              <a:gd name="connsiteX136" fmla="*/ 4561010 w 4693698"/>
              <a:gd name="connsiteY136" fmla="*/ 6597650 h 6858000"/>
              <a:gd name="connsiteX137" fmla="*/ 4544214 w 4693698"/>
              <a:gd name="connsiteY137" fmla="*/ 6640512 h 6858000"/>
              <a:gd name="connsiteX138" fmla="*/ 4527418 w 4693698"/>
              <a:gd name="connsiteY138" fmla="*/ 6683375 h 6858000"/>
              <a:gd name="connsiteX139" fmla="*/ 4517340 w 4693698"/>
              <a:gd name="connsiteY139" fmla="*/ 6735762 h 6858000"/>
              <a:gd name="connsiteX140" fmla="*/ 4508943 w 4693698"/>
              <a:gd name="connsiteY140" fmla="*/ 6791325 h 6858000"/>
              <a:gd name="connsiteX141" fmla="*/ 4503903 w 4693698"/>
              <a:gd name="connsiteY141" fmla="*/ 6858000 h 6858000"/>
              <a:gd name="connsiteX142" fmla="*/ 1582057 w 4693698"/>
              <a:gd name="connsiteY142" fmla="*/ 6858000 h 6858000"/>
              <a:gd name="connsiteX143" fmla="*/ 420914 w 4693698"/>
              <a:gd name="connsiteY143" fmla="*/ 6858000 h 6858000"/>
              <a:gd name="connsiteX144" fmla="*/ 0 w 4693698"/>
              <a:gd name="connsiteY14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693698" h="6858000">
                <a:moveTo>
                  <a:pt x="0" y="0"/>
                </a:moveTo>
                <a:lnTo>
                  <a:pt x="420914" y="0"/>
                </a:lnTo>
                <a:lnTo>
                  <a:pt x="1582057" y="0"/>
                </a:lnTo>
                <a:lnTo>
                  <a:pt x="4503903" y="0"/>
                </a:lnTo>
                <a:lnTo>
                  <a:pt x="4508943" y="66675"/>
                </a:lnTo>
                <a:lnTo>
                  <a:pt x="4517340" y="122237"/>
                </a:lnTo>
                <a:lnTo>
                  <a:pt x="4527418" y="174625"/>
                </a:lnTo>
                <a:lnTo>
                  <a:pt x="4544214" y="217487"/>
                </a:lnTo>
                <a:lnTo>
                  <a:pt x="4561010" y="260350"/>
                </a:lnTo>
                <a:lnTo>
                  <a:pt x="4581165" y="296862"/>
                </a:lnTo>
                <a:lnTo>
                  <a:pt x="4601320" y="334962"/>
                </a:lnTo>
                <a:lnTo>
                  <a:pt x="4619796" y="369887"/>
                </a:lnTo>
                <a:lnTo>
                  <a:pt x="4638271" y="409575"/>
                </a:lnTo>
                <a:lnTo>
                  <a:pt x="4655067" y="450850"/>
                </a:lnTo>
                <a:lnTo>
                  <a:pt x="4670184" y="496887"/>
                </a:lnTo>
                <a:lnTo>
                  <a:pt x="4681941" y="546100"/>
                </a:lnTo>
                <a:lnTo>
                  <a:pt x="4690339" y="606425"/>
                </a:lnTo>
                <a:lnTo>
                  <a:pt x="4693698" y="673100"/>
                </a:lnTo>
                <a:lnTo>
                  <a:pt x="4690339" y="744537"/>
                </a:lnTo>
                <a:lnTo>
                  <a:pt x="4681941" y="801687"/>
                </a:lnTo>
                <a:lnTo>
                  <a:pt x="4670184" y="854075"/>
                </a:lnTo>
                <a:lnTo>
                  <a:pt x="4655067" y="901700"/>
                </a:lnTo>
                <a:lnTo>
                  <a:pt x="4638271" y="942975"/>
                </a:lnTo>
                <a:lnTo>
                  <a:pt x="4618116" y="981075"/>
                </a:lnTo>
                <a:lnTo>
                  <a:pt x="4597961" y="1017587"/>
                </a:lnTo>
                <a:lnTo>
                  <a:pt x="4577806" y="1055687"/>
                </a:lnTo>
                <a:lnTo>
                  <a:pt x="4559330" y="1095375"/>
                </a:lnTo>
                <a:lnTo>
                  <a:pt x="4540854" y="1136650"/>
                </a:lnTo>
                <a:lnTo>
                  <a:pt x="4525739" y="1182687"/>
                </a:lnTo>
                <a:lnTo>
                  <a:pt x="4515661" y="1235075"/>
                </a:lnTo>
                <a:lnTo>
                  <a:pt x="4505583" y="1295400"/>
                </a:lnTo>
                <a:lnTo>
                  <a:pt x="4503903" y="1363662"/>
                </a:lnTo>
                <a:lnTo>
                  <a:pt x="4505583" y="1431925"/>
                </a:lnTo>
                <a:lnTo>
                  <a:pt x="4515661" y="1492250"/>
                </a:lnTo>
                <a:lnTo>
                  <a:pt x="4525739" y="1544637"/>
                </a:lnTo>
                <a:lnTo>
                  <a:pt x="4540854" y="1589087"/>
                </a:lnTo>
                <a:lnTo>
                  <a:pt x="4559330" y="1631950"/>
                </a:lnTo>
                <a:lnTo>
                  <a:pt x="4577806" y="1671637"/>
                </a:lnTo>
                <a:lnTo>
                  <a:pt x="4597961" y="1708150"/>
                </a:lnTo>
                <a:lnTo>
                  <a:pt x="4618116" y="1743075"/>
                </a:lnTo>
                <a:lnTo>
                  <a:pt x="4638271" y="1782762"/>
                </a:lnTo>
                <a:lnTo>
                  <a:pt x="4655067" y="1824037"/>
                </a:lnTo>
                <a:lnTo>
                  <a:pt x="4670184" y="1870075"/>
                </a:lnTo>
                <a:lnTo>
                  <a:pt x="4681941" y="1922462"/>
                </a:lnTo>
                <a:lnTo>
                  <a:pt x="4690339" y="1982787"/>
                </a:lnTo>
                <a:lnTo>
                  <a:pt x="4693698" y="2051050"/>
                </a:lnTo>
                <a:lnTo>
                  <a:pt x="4690339" y="2119312"/>
                </a:lnTo>
                <a:lnTo>
                  <a:pt x="4681941" y="2179637"/>
                </a:lnTo>
                <a:lnTo>
                  <a:pt x="4670184" y="2232025"/>
                </a:lnTo>
                <a:lnTo>
                  <a:pt x="4655067" y="2278062"/>
                </a:lnTo>
                <a:lnTo>
                  <a:pt x="4638271" y="2319337"/>
                </a:lnTo>
                <a:lnTo>
                  <a:pt x="4618116" y="2359025"/>
                </a:lnTo>
                <a:lnTo>
                  <a:pt x="4597961" y="2395537"/>
                </a:lnTo>
                <a:lnTo>
                  <a:pt x="4577806" y="2433637"/>
                </a:lnTo>
                <a:lnTo>
                  <a:pt x="4559330" y="2471737"/>
                </a:lnTo>
                <a:lnTo>
                  <a:pt x="4540854" y="2513012"/>
                </a:lnTo>
                <a:lnTo>
                  <a:pt x="4525739" y="2560637"/>
                </a:lnTo>
                <a:lnTo>
                  <a:pt x="4515661" y="2613025"/>
                </a:lnTo>
                <a:lnTo>
                  <a:pt x="4505583" y="2671762"/>
                </a:lnTo>
                <a:lnTo>
                  <a:pt x="4503903" y="2741612"/>
                </a:lnTo>
                <a:lnTo>
                  <a:pt x="4505583" y="2809875"/>
                </a:lnTo>
                <a:lnTo>
                  <a:pt x="4515661" y="2868612"/>
                </a:lnTo>
                <a:lnTo>
                  <a:pt x="4525739" y="2922587"/>
                </a:lnTo>
                <a:lnTo>
                  <a:pt x="4540854" y="2967037"/>
                </a:lnTo>
                <a:lnTo>
                  <a:pt x="4559330" y="3009900"/>
                </a:lnTo>
                <a:lnTo>
                  <a:pt x="4577806" y="3046412"/>
                </a:lnTo>
                <a:lnTo>
                  <a:pt x="4597961" y="3084512"/>
                </a:lnTo>
                <a:lnTo>
                  <a:pt x="4618116" y="3121025"/>
                </a:lnTo>
                <a:lnTo>
                  <a:pt x="4638271" y="3160712"/>
                </a:lnTo>
                <a:lnTo>
                  <a:pt x="4655067" y="3201987"/>
                </a:lnTo>
                <a:lnTo>
                  <a:pt x="4670184" y="3248025"/>
                </a:lnTo>
                <a:lnTo>
                  <a:pt x="4681941" y="3300412"/>
                </a:lnTo>
                <a:lnTo>
                  <a:pt x="4690339" y="3360737"/>
                </a:lnTo>
                <a:lnTo>
                  <a:pt x="4693698" y="3427412"/>
                </a:lnTo>
                <a:lnTo>
                  <a:pt x="4690339" y="3497262"/>
                </a:lnTo>
                <a:lnTo>
                  <a:pt x="4681941" y="3557587"/>
                </a:lnTo>
                <a:lnTo>
                  <a:pt x="4670184" y="3609975"/>
                </a:lnTo>
                <a:lnTo>
                  <a:pt x="4655067" y="3656012"/>
                </a:lnTo>
                <a:lnTo>
                  <a:pt x="4638271" y="3697287"/>
                </a:lnTo>
                <a:lnTo>
                  <a:pt x="4618116" y="3736975"/>
                </a:lnTo>
                <a:lnTo>
                  <a:pt x="4577806" y="3811587"/>
                </a:lnTo>
                <a:lnTo>
                  <a:pt x="4559330" y="3848100"/>
                </a:lnTo>
                <a:lnTo>
                  <a:pt x="4540854" y="3890962"/>
                </a:lnTo>
                <a:lnTo>
                  <a:pt x="4525739" y="3935412"/>
                </a:lnTo>
                <a:lnTo>
                  <a:pt x="4515661" y="3987800"/>
                </a:lnTo>
                <a:lnTo>
                  <a:pt x="4505583" y="4048125"/>
                </a:lnTo>
                <a:lnTo>
                  <a:pt x="4503903" y="4116387"/>
                </a:lnTo>
                <a:lnTo>
                  <a:pt x="4505583" y="4186237"/>
                </a:lnTo>
                <a:lnTo>
                  <a:pt x="4515661" y="4244975"/>
                </a:lnTo>
                <a:lnTo>
                  <a:pt x="4525739" y="4297362"/>
                </a:lnTo>
                <a:lnTo>
                  <a:pt x="4540854" y="4343400"/>
                </a:lnTo>
                <a:lnTo>
                  <a:pt x="4559330" y="4386262"/>
                </a:lnTo>
                <a:lnTo>
                  <a:pt x="4577806" y="4424362"/>
                </a:lnTo>
                <a:lnTo>
                  <a:pt x="4618116" y="4498975"/>
                </a:lnTo>
                <a:lnTo>
                  <a:pt x="4638271" y="4537075"/>
                </a:lnTo>
                <a:lnTo>
                  <a:pt x="4655067" y="4579937"/>
                </a:lnTo>
                <a:lnTo>
                  <a:pt x="4670184" y="4625975"/>
                </a:lnTo>
                <a:lnTo>
                  <a:pt x="4681941" y="4678362"/>
                </a:lnTo>
                <a:lnTo>
                  <a:pt x="4690339" y="4738687"/>
                </a:lnTo>
                <a:lnTo>
                  <a:pt x="4693698" y="4806950"/>
                </a:lnTo>
                <a:lnTo>
                  <a:pt x="4690339" y="4875212"/>
                </a:lnTo>
                <a:lnTo>
                  <a:pt x="4681941" y="4935537"/>
                </a:lnTo>
                <a:lnTo>
                  <a:pt x="4670184" y="4987925"/>
                </a:lnTo>
                <a:lnTo>
                  <a:pt x="4655067" y="5033962"/>
                </a:lnTo>
                <a:lnTo>
                  <a:pt x="4638271" y="5075237"/>
                </a:lnTo>
                <a:lnTo>
                  <a:pt x="4618116" y="5114925"/>
                </a:lnTo>
                <a:lnTo>
                  <a:pt x="4597961" y="5149850"/>
                </a:lnTo>
                <a:lnTo>
                  <a:pt x="4577806" y="5186362"/>
                </a:lnTo>
                <a:lnTo>
                  <a:pt x="4559330" y="5226050"/>
                </a:lnTo>
                <a:lnTo>
                  <a:pt x="4540854" y="5268912"/>
                </a:lnTo>
                <a:lnTo>
                  <a:pt x="4525739" y="5313362"/>
                </a:lnTo>
                <a:lnTo>
                  <a:pt x="4515661" y="5365750"/>
                </a:lnTo>
                <a:lnTo>
                  <a:pt x="4505583" y="5426075"/>
                </a:lnTo>
                <a:lnTo>
                  <a:pt x="4503903" y="5494337"/>
                </a:lnTo>
                <a:lnTo>
                  <a:pt x="4505583" y="5562600"/>
                </a:lnTo>
                <a:lnTo>
                  <a:pt x="4515661" y="5622925"/>
                </a:lnTo>
                <a:lnTo>
                  <a:pt x="4525739" y="5675312"/>
                </a:lnTo>
                <a:lnTo>
                  <a:pt x="4540854" y="5721350"/>
                </a:lnTo>
                <a:lnTo>
                  <a:pt x="4559330" y="5762625"/>
                </a:lnTo>
                <a:lnTo>
                  <a:pt x="4577806" y="5802312"/>
                </a:lnTo>
                <a:lnTo>
                  <a:pt x="4597961" y="5840412"/>
                </a:lnTo>
                <a:lnTo>
                  <a:pt x="4618116" y="5876925"/>
                </a:lnTo>
                <a:lnTo>
                  <a:pt x="4638271" y="5915025"/>
                </a:lnTo>
                <a:lnTo>
                  <a:pt x="4655067" y="5956300"/>
                </a:lnTo>
                <a:lnTo>
                  <a:pt x="4670184" y="6003925"/>
                </a:lnTo>
                <a:lnTo>
                  <a:pt x="4681941" y="6056312"/>
                </a:lnTo>
                <a:lnTo>
                  <a:pt x="4690339" y="6113462"/>
                </a:lnTo>
                <a:lnTo>
                  <a:pt x="4693698" y="6183312"/>
                </a:lnTo>
                <a:lnTo>
                  <a:pt x="4690339" y="6251575"/>
                </a:lnTo>
                <a:lnTo>
                  <a:pt x="4681941" y="6311900"/>
                </a:lnTo>
                <a:lnTo>
                  <a:pt x="4670184" y="6361112"/>
                </a:lnTo>
                <a:lnTo>
                  <a:pt x="4655067" y="6407150"/>
                </a:lnTo>
                <a:lnTo>
                  <a:pt x="4638271" y="6448425"/>
                </a:lnTo>
                <a:lnTo>
                  <a:pt x="4619796" y="6488112"/>
                </a:lnTo>
                <a:lnTo>
                  <a:pt x="4601320" y="6523037"/>
                </a:lnTo>
                <a:lnTo>
                  <a:pt x="4581165" y="6561137"/>
                </a:lnTo>
                <a:lnTo>
                  <a:pt x="4561010" y="6597650"/>
                </a:lnTo>
                <a:lnTo>
                  <a:pt x="4544214" y="6640512"/>
                </a:lnTo>
                <a:lnTo>
                  <a:pt x="4527418" y="6683375"/>
                </a:lnTo>
                <a:lnTo>
                  <a:pt x="4517340" y="6735762"/>
                </a:lnTo>
                <a:lnTo>
                  <a:pt x="4508943" y="6791325"/>
                </a:lnTo>
                <a:lnTo>
                  <a:pt x="4503903" y="6858000"/>
                </a:lnTo>
                <a:lnTo>
                  <a:pt x="1582057" y="6858000"/>
                </a:lnTo>
                <a:lnTo>
                  <a:pt x="420914" y="6858000"/>
                </a:lnTo>
                <a:lnTo>
                  <a:pt x="0" y="6858000"/>
                </a:lnTo>
                <a:close/>
              </a:path>
            </a:pathLst>
          </a:custGeom>
          <a:solidFill>
            <a:schemeClr val="tx1"/>
          </a:solidFill>
          <a:ln w="0">
            <a:noFill/>
            <a:prstDash val="solid"/>
            <a:round/>
            <a:headEnd/>
            <a:tailEnd/>
          </a:ln>
        </p:spPr>
        <p:txBody>
          <a:bodyPr wrap="square">
            <a:noAutofit/>
          </a:bodyPr>
          <a:lstStyle/>
          <a:p>
            <a:endParaRPr lang="en-US" dirty="0"/>
          </a:p>
        </p:txBody>
      </p:sp>
      <p:sp>
        <p:nvSpPr>
          <p:cNvPr id="21" name="Freeform: Shape 20">
            <a:extLst>
              <a:ext uri="{FF2B5EF4-FFF2-40B4-BE49-F238E27FC236}">
                <a16:creationId xmlns:a16="http://schemas.microsoft.com/office/drawing/2014/main" id="{4B9FAFB2-BEB5-4848-8018-BCAD99E2E1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4838076" cy="6858000"/>
          </a:xfrm>
          <a:custGeom>
            <a:avLst/>
            <a:gdLst>
              <a:gd name="connsiteX0" fmla="*/ 4838076 w 4838076"/>
              <a:gd name="connsiteY0" fmla="*/ 0 h 6858000"/>
              <a:gd name="connsiteX1" fmla="*/ 4417162 w 4838076"/>
              <a:gd name="connsiteY1" fmla="*/ 0 h 6858000"/>
              <a:gd name="connsiteX2" fmla="*/ 3459219 w 4838076"/>
              <a:gd name="connsiteY2" fmla="*/ 0 h 6858000"/>
              <a:gd name="connsiteX3" fmla="*/ 334174 w 4838076"/>
              <a:gd name="connsiteY3" fmla="*/ 0 h 6858000"/>
              <a:gd name="connsiteX4" fmla="*/ 334173 w 4838076"/>
              <a:gd name="connsiteY4" fmla="*/ 0 h 6858000"/>
              <a:gd name="connsiteX5" fmla="*/ 189795 w 4838076"/>
              <a:gd name="connsiteY5" fmla="*/ 0 h 6858000"/>
              <a:gd name="connsiteX6" fmla="*/ 184756 w 4838076"/>
              <a:gd name="connsiteY6" fmla="*/ 66675 h 6858000"/>
              <a:gd name="connsiteX7" fmla="*/ 176358 w 4838076"/>
              <a:gd name="connsiteY7" fmla="*/ 122237 h 6858000"/>
              <a:gd name="connsiteX8" fmla="*/ 166281 w 4838076"/>
              <a:gd name="connsiteY8" fmla="*/ 174625 h 6858000"/>
              <a:gd name="connsiteX9" fmla="*/ 149485 w 4838076"/>
              <a:gd name="connsiteY9" fmla="*/ 217487 h 6858000"/>
              <a:gd name="connsiteX10" fmla="*/ 132689 w 4838076"/>
              <a:gd name="connsiteY10" fmla="*/ 260350 h 6858000"/>
              <a:gd name="connsiteX11" fmla="*/ 112534 w 4838076"/>
              <a:gd name="connsiteY11" fmla="*/ 296862 h 6858000"/>
              <a:gd name="connsiteX12" fmla="*/ 92379 w 4838076"/>
              <a:gd name="connsiteY12" fmla="*/ 334962 h 6858000"/>
              <a:gd name="connsiteX13" fmla="*/ 73903 w 4838076"/>
              <a:gd name="connsiteY13" fmla="*/ 369887 h 6858000"/>
              <a:gd name="connsiteX14" fmla="*/ 55427 w 4838076"/>
              <a:gd name="connsiteY14" fmla="*/ 409575 h 6858000"/>
              <a:gd name="connsiteX15" fmla="*/ 38632 w 4838076"/>
              <a:gd name="connsiteY15" fmla="*/ 450850 h 6858000"/>
              <a:gd name="connsiteX16" fmla="*/ 23515 w 4838076"/>
              <a:gd name="connsiteY16" fmla="*/ 496887 h 6858000"/>
              <a:gd name="connsiteX17" fmla="*/ 11758 w 4838076"/>
              <a:gd name="connsiteY17" fmla="*/ 546100 h 6858000"/>
              <a:gd name="connsiteX18" fmla="*/ 3359 w 4838076"/>
              <a:gd name="connsiteY18" fmla="*/ 606425 h 6858000"/>
              <a:gd name="connsiteX19" fmla="*/ 0 w 4838076"/>
              <a:gd name="connsiteY19" fmla="*/ 673100 h 6858000"/>
              <a:gd name="connsiteX20" fmla="*/ 3359 w 4838076"/>
              <a:gd name="connsiteY20" fmla="*/ 744537 h 6858000"/>
              <a:gd name="connsiteX21" fmla="*/ 11758 w 4838076"/>
              <a:gd name="connsiteY21" fmla="*/ 801687 h 6858000"/>
              <a:gd name="connsiteX22" fmla="*/ 23515 w 4838076"/>
              <a:gd name="connsiteY22" fmla="*/ 854075 h 6858000"/>
              <a:gd name="connsiteX23" fmla="*/ 38632 w 4838076"/>
              <a:gd name="connsiteY23" fmla="*/ 901700 h 6858000"/>
              <a:gd name="connsiteX24" fmla="*/ 55427 w 4838076"/>
              <a:gd name="connsiteY24" fmla="*/ 942975 h 6858000"/>
              <a:gd name="connsiteX25" fmla="*/ 75583 w 4838076"/>
              <a:gd name="connsiteY25" fmla="*/ 981075 h 6858000"/>
              <a:gd name="connsiteX26" fmla="*/ 95738 w 4838076"/>
              <a:gd name="connsiteY26" fmla="*/ 1017587 h 6858000"/>
              <a:gd name="connsiteX27" fmla="*/ 115893 w 4838076"/>
              <a:gd name="connsiteY27" fmla="*/ 1055687 h 6858000"/>
              <a:gd name="connsiteX28" fmla="*/ 134368 w 4838076"/>
              <a:gd name="connsiteY28" fmla="*/ 1095375 h 6858000"/>
              <a:gd name="connsiteX29" fmla="*/ 152844 w 4838076"/>
              <a:gd name="connsiteY29" fmla="*/ 1136650 h 6858000"/>
              <a:gd name="connsiteX30" fmla="*/ 167960 w 4838076"/>
              <a:gd name="connsiteY30" fmla="*/ 1182687 h 6858000"/>
              <a:gd name="connsiteX31" fmla="*/ 178038 w 4838076"/>
              <a:gd name="connsiteY31" fmla="*/ 1235075 h 6858000"/>
              <a:gd name="connsiteX32" fmla="*/ 188115 w 4838076"/>
              <a:gd name="connsiteY32" fmla="*/ 1295400 h 6858000"/>
              <a:gd name="connsiteX33" fmla="*/ 189795 w 4838076"/>
              <a:gd name="connsiteY33" fmla="*/ 1363662 h 6858000"/>
              <a:gd name="connsiteX34" fmla="*/ 188115 w 4838076"/>
              <a:gd name="connsiteY34" fmla="*/ 1431925 h 6858000"/>
              <a:gd name="connsiteX35" fmla="*/ 178038 w 4838076"/>
              <a:gd name="connsiteY35" fmla="*/ 1492250 h 6858000"/>
              <a:gd name="connsiteX36" fmla="*/ 167960 w 4838076"/>
              <a:gd name="connsiteY36" fmla="*/ 1544637 h 6858000"/>
              <a:gd name="connsiteX37" fmla="*/ 152844 w 4838076"/>
              <a:gd name="connsiteY37" fmla="*/ 1589087 h 6858000"/>
              <a:gd name="connsiteX38" fmla="*/ 134368 w 4838076"/>
              <a:gd name="connsiteY38" fmla="*/ 1631950 h 6858000"/>
              <a:gd name="connsiteX39" fmla="*/ 115893 w 4838076"/>
              <a:gd name="connsiteY39" fmla="*/ 1671637 h 6858000"/>
              <a:gd name="connsiteX40" fmla="*/ 95738 w 4838076"/>
              <a:gd name="connsiteY40" fmla="*/ 1708150 h 6858000"/>
              <a:gd name="connsiteX41" fmla="*/ 75583 w 4838076"/>
              <a:gd name="connsiteY41" fmla="*/ 1743075 h 6858000"/>
              <a:gd name="connsiteX42" fmla="*/ 55427 w 4838076"/>
              <a:gd name="connsiteY42" fmla="*/ 1782762 h 6858000"/>
              <a:gd name="connsiteX43" fmla="*/ 38632 w 4838076"/>
              <a:gd name="connsiteY43" fmla="*/ 1824037 h 6858000"/>
              <a:gd name="connsiteX44" fmla="*/ 23515 w 4838076"/>
              <a:gd name="connsiteY44" fmla="*/ 1870075 h 6858000"/>
              <a:gd name="connsiteX45" fmla="*/ 11758 w 4838076"/>
              <a:gd name="connsiteY45" fmla="*/ 1922462 h 6858000"/>
              <a:gd name="connsiteX46" fmla="*/ 3359 w 4838076"/>
              <a:gd name="connsiteY46" fmla="*/ 1982787 h 6858000"/>
              <a:gd name="connsiteX47" fmla="*/ 0 w 4838076"/>
              <a:gd name="connsiteY47" fmla="*/ 2051050 h 6858000"/>
              <a:gd name="connsiteX48" fmla="*/ 3359 w 4838076"/>
              <a:gd name="connsiteY48" fmla="*/ 2119312 h 6858000"/>
              <a:gd name="connsiteX49" fmla="*/ 11758 w 4838076"/>
              <a:gd name="connsiteY49" fmla="*/ 2179637 h 6858000"/>
              <a:gd name="connsiteX50" fmla="*/ 23515 w 4838076"/>
              <a:gd name="connsiteY50" fmla="*/ 2232025 h 6858000"/>
              <a:gd name="connsiteX51" fmla="*/ 38632 w 4838076"/>
              <a:gd name="connsiteY51" fmla="*/ 2278062 h 6858000"/>
              <a:gd name="connsiteX52" fmla="*/ 55427 w 4838076"/>
              <a:gd name="connsiteY52" fmla="*/ 2319337 h 6858000"/>
              <a:gd name="connsiteX53" fmla="*/ 75583 w 4838076"/>
              <a:gd name="connsiteY53" fmla="*/ 2359025 h 6858000"/>
              <a:gd name="connsiteX54" fmla="*/ 95738 w 4838076"/>
              <a:gd name="connsiteY54" fmla="*/ 2395537 h 6858000"/>
              <a:gd name="connsiteX55" fmla="*/ 115893 w 4838076"/>
              <a:gd name="connsiteY55" fmla="*/ 2433637 h 6858000"/>
              <a:gd name="connsiteX56" fmla="*/ 134368 w 4838076"/>
              <a:gd name="connsiteY56" fmla="*/ 2471737 h 6858000"/>
              <a:gd name="connsiteX57" fmla="*/ 152844 w 4838076"/>
              <a:gd name="connsiteY57" fmla="*/ 2513012 h 6858000"/>
              <a:gd name="connsiteX58" fmla="*/ 167960 w 4838076"/>
              <a:gd name="connsiteY58" fmla="*/ 2560637 h 6858000"/>
              <a:gd name="connsiteX59" fmla="*/ 178038 w 4838076"/>
              <a:gd name="connsiteY59" fmla="*/ 2613025 h 6858000"/>
              <a:gd name="connsiteX60" fmla="*/ 188115 w 4838076"/>
              <a:gd name="connsiteY60" fmla="*/ 2671762 h 6858000"/>
              <a:gd name="connsiteX61" fmla="*/ 189795 w 4838076"/>
              <a:gd name="connsiteY61" fmla="*/ 2741612 h 6858000"/>
              <a:gd name="connsiteX62" fmla="*/ 188115 w 4838076"/>
              <a:gd name="connsiteY62" fmla="*/ 2809875 h 6858000"/>
              <a:gd name="connsiteX63" fmla="*/ 178038 w 4838076"/>
              <a:gd name="connsiteY63" fmla="*/ 2868612 h 6858000"/>
              <a:gd name="connsiteX64" fmla="*/ 167960 w 4838076"/>
              <a:gd name="connsiteY64" fmla="*/ 2922587 h 6858000"/>
              <a:gd name="connsiteX65" fmla="*/ 152844 w 4838076"/>
              <a:gd name="connsiteY65" fmla="*/ 2967037 h 6858000"/>
              <a:gd name="connsiteX66" fmla="*/ 134368 w 4838076"/>
              <a:gd name="connsiteY66" fmla="*/ 3009900 h 6858000"/>
              <a:gd name="connsiteX67" fmla="*/ 115893 w 4838076"/>
              <a:gd name="connsiteY67" fmla="*/ 3046412 h 6858000"/>
              <a:gd name="connsiteX68" fmla="*/ 95738 w 4838076"/>
              <a:gd name="connsiteY68" fmla="*/ 3084512 h 6858000"/>
              <a:gd name="connsiteX69" fmla="*/ 75583 w 4838076"/>
              <a:gd name="connsiteY69" fmla="*/ 3121025 h 6858000"/>
              <a:gd name="connsiteX70" fmla="*/ 55427 w 4838076"/>
              <a:gd name="connsiteY70" fmla="*/ 3160712 h 6858000"/>
              <a:gd name="connsiteX71" fmla="*/ 38632 w 4838076"/>
              <a:gd name="connsiteY71" fmla="*/ 3201987 h 6858000"/>
              <a:gd name="connsiteX72" fmla="*/ 23515 w 4838076"/>
              <a:gd name="connsiteY72" fmla="*/ 3248025 h 6858000"/>
              <a:gd name="connsiteX73" fmla="*/ 11758 w 4838076"/>
              <a:gd name="connsiteY73" fmla="*/ 3300412 h 6858000"/>
              <a:gd name="connsiteX74" fmla="*/ 3359 w 4838076"/>
              <a:gd name="connsiteY74" fmla="*/ 3360737 h 6858000"/>
              <a:gd name="connsiteX75" fmla="*/ 0 w 4838076"/>
              <a:gd name="connsiteY75" fmla="*/ 3427412 h 6858000"/>
              <a:gd name="connsiteX76" fmla="*/ 3359 w 4838076"/>
              <a:gd name="connsiteY76" fmla="*/ 3497262 h 6858000"/>
              <a:gd name="connsiteX77" fmla="*/ 11758 w 4838076"/>
              <a:gd name="connsiteY77" fmla="*/ 3557587 h 6858000"/>
              <a:gd name="connsiteX78" fmla="*/ 23515 w 4838076"/>
              <a:gd name="connsiteY78" fmla="*/ 3609975 h 6858000"/>
              <a:gd name="connsiteX79" fmla="*/ 38632 w 4838076"/>
              <a:gd name="connsiteY79" fmla="*/ 3656012 h 6858000"/>
              <a:gd name="connsiteX80" fmla="*/ 55427 w 4838076"/>
              <a:gd name="connsiteY80" fmla="*/ 3697287 h 6858000"/>
              <a:gd name="connsiteX81" fmla="*/ 75583 w 4838076"/>
              <a:gd name="connsiteY81" fmla="*/ 3736975 h 6858000"/>
              <a:gd name="connsiteX82" fmla="*/ 115893 w 4838076"/>
              <a:gd name="connsiteY82" fmla="*/ 3811587 h 6858000"/>
              <a:gd name="connsiteX83" fmla="*/ 134368 w 4838076"/>
              <a:gd name="connsiteY83" fmla="*/ 3848100 h 6858000"/>
              <a:gd name="connsiteX84" fmla="*/ 152844 w 4838076"/>
              <a:gd name="connsiteY84" fmla="*/ 3890962 h 6858000"/>
              <a:gd name="connsiteX85" fmla="*/ 167960 w 4838076"/>
              <a:gd name="connsiteY85" fmla="*/ 3935412 h 6858000"/>
              <a:gd name="connsiteX86" fmla="*/ 178038 w 4838076"/>
              <a:gd name="connsiteY86" fmla="*/ 3987800 h 6858000"/>
              <a:gd name="connsiteX87" fmla="*/ 188115 w 4838076"/>
              <a:gd name="connsiteY87" fmla="*/ 4048125 h 6858000"/>
              <a:gd name="connsiteX88" fmla="*/ 189795 w 4838076"/>
              <a:gd name="connsiteY88" fmla="*/ 4116387 h 6858000"/>
              <a:gd name="connsiteX89" fmla="*/ 188115 w 4838076"/>
              <a:gd name="connsiteY89" fmla="*/ 4186237 h 6858000"/>
              <a:gd name="connsiteX90" fmla="*/ 178038 w 4838076"/>
              <a:gd name="connsiteY90" fmla="*/ 4244975 h 6858000"/>
              <a:gd name="connsiteX91" fmla="*/ 167960 w 4838076"/>
              <a:gd name="connsiteY91" fmla="*/ 4297362 h 6858000"/>
              <a:gd name="connsiteX92" fmla="*/ 152844 w 4838076"/>
              <a:gd name="connsiteY92" fmla="*/ 4343400 h 6858000"/>
              <a:gd name="connsiteX93" fmla="*/ 134368 w 4838076"/>
              <a:gd name="connsiteY93" fmla="*/ 4386262 h 6858000"/>
              <a:gd name="connsiteX94" fmla="*/ 115893 w 4838076"/>
              <a:gd name="connsiteY94" fmla="*/ 4424362 h 6858000"/>
              <a:gd name="connsiteX95" fmla="*/ 75583 w 4838076"/>
              <a:gd name="connsiteY95" fmla="*/ 4498975 h 6858000"/>
              <a:gd name="connsiteX96" fmla="*/ 55427 w 4838076"/>
              <a:gd name="connsiteY96" fmla="*/ 4537075 h 6858000"/>
              <a:gd name="connsiteX97" fmla="*/ 38632 w 4838076"/>
              <a:gd name="connsiteY97" fmla="*/ 4579937 h 6858000"/>
              <a:gd name="connsiteX98" fmla="*/ 23515 w 4838076"/>
              <a:gd name="connsiteY98" fmla="*/ 4625975 h 6858000"/>
              <a:gd name="connsiteX99" fmla="*/ 11758 w 4838076"/>
              <a:gd name="connsiteY99" fmla="*/ 4678362 h 6858000"/>
              <a:gd name="connsiteX100" fmla="*/ 3359 w 4838076"/>
              <a:gd name="connsiteY100" fmla="*/ 4738687 h 6858000"/>
              <a:gd name="connsiteX101" fmla="*/ 0 w 4838076"/>
              <a:gd name="connsiteY101" fmla="*/ 4806950 h 6858000"/>
              <a:gd name="connsiteX102" fmla="*/ 3359 w 4838076"/>
              <a:gd name="connsiteY102" fmla="*/ 4875212 h 6858000"/>
              <a:gd name="connsiteX103" fmla="*/ 11758 w 4838076"/>
              <a:gd name="connsiteY103" fmla="*/ 4935537 h 6858000"/>
              <a:gd name="connsiteX104" fmla="*/ 23515 w 4838076"/>
              <a:gd name="connsiteY104" fmla="*/ 4987925 h 6858000"/>
              <a:gd name="connsiteX105" fmla="*/ 38632 w 4838076"/>
              <a:gd name="connsiteY105" fmla="*/ 5033962 h 6858000"/>
              <a:gd name="connsiteX106" fmla="*/ 55427 w 4838076"/>
              <a:gd name="connsiteY106" fmla="*/ 5075237 h 6858000"/>
              <a:gd name="connsiteX107" fmla="*/ 75583 w 4838076"/>
              <a:gd name="connsiteY107" fmla="*/ 5114925 h 6858000"/>
              <a:gd name="connsiteX108" fmla="*/ 95738 w 4838076"/>
              <a:gd name="connsiteY108" fmla="*/ 5149850 h 6858000"/>
              <a:gd name="connsiteX109" fmla="*/ 115893 w 4838076"/>
              <a:gd name="connsiteY109" fmla="*/ 5186362 h 6858000"/>
              <a:gd name="connsiteX110" fmla="*/ 134368 w 4838076"/>
              <a:gd name="connsiteY110" fmla="*/ 5226050 h 6858000"/>
              <a:gd name="connsiteX111" fmla="*/ 152844 w 4838076"/>
              <a:gd name="connsiteY111" fmla="*/ 5268912 h 6858000"/>
              <a:gd name="connsiteX112" fmla="*/ 167960 w 4838076"/>
              <a:gd name="connsiteY112" fmla="*/ 5313362 h 6858000"/>
              <a:gd name="connsiteX113" fmla="*/ 178038 w 4838076"/>
              <a:gd name="connsiteY113" fmla="*/ 5365750 h 6858000"/>
              <a:gd name="connsiteX114" fmla="*/ 188115 w 4838076"/>
              <a:gd name="connsiteY114" fmla="*/ 5426075 h 6858000"/>
              <a:gd name="connsiteX115" fmla="*/ 189795 w 4838076"/>
              <a:gd name="connsiteY115" fmla="*/ 5494337 h 6858000"/>
              <a:gd name="connsiteX116" fmla="*/ 188115 w 4838076"/>
              <a:gd name="connsiteY116" fmla="*/ 5562600 h 6858000"/>
              <a:gd name="connsiteX117" fmla="*/ 178038 w 4838076"/>
              <a:gd name="connsiteY117" fmla="*/ 5622925 h 6858000"/>
              <a:gd name="connsiteX118" fmla="*/ 167960 w 4838076"/>
              <a:gd name="connsiteY118" fmla="*/ 5675312 h 6858000"/>
              <a:gd name="connsiteX119" fmla="*/ 152844 w 4838076"/>
              <a:gd name="connsiteY119" fmla="*/ 5721350 h 6858000"/>
              <a:gd name="connsiteX120" fmla="*/ 134368 w 4838076"/>
              <a:gd name="connsiteY120" fmla="*/ 5762625 h 6858000"/>
              <a:gd name="connsiteX121" fmla="*/ 115893 w 4838076"/>
              <a:gd name="connsiteY121" fmla="*/ 5802312 h 6858000"/>
              <a:gd name="connsiteX122" fmla="*/ 95738 w 4838076"/>
              <a:gd name="connsiteY122" fmla="*/ 5840412 h 6858000"/>
              <a:gd name="connsiteX123" fmla="*/ 75583 w 4838076"/>
              <a:gd name="connsiteY123" fmla="*/ 5876925 h 6858000"/>
              <a:gd name="connsiteX124" fmla="*/ 55427 w 4838076"/>
              <a:gd name="connsiteY124" fmla="*/ 5915025 h 6858000"/>
              <a:gd name="connsiteX125" fmla="*/ 38632 w 4838076"/>
              <a:gd name="connsiteY125" fmla="*/ 5956300 h 6858000"/>
              <a:gd name="connsiteX126" fmla="*/ 23515 w 4838076"/>
              <a:gd name="connsiteY126" fmla="*/ 6003925 h 6858000"/>
              <a:gd name="connsiteX127" fmla="*/ 11758 w 4838076"/>
              <a:gd name="connsiteY127" fmla="*/ 6056312 h 6858000"/>
              <a:gd name="connsiteX128" fmla="*/ 3359 w 4838076"/>
              <a:gd name="connsiteY128" fmla="*/ 6113462 h 6858000"/>
              <a:gd name="connsiteX129" fmla="*/ 0 w 4838076"/>
              <a:gd name="connsiteY129" fmla="*/ 6183312 h 6858000"/>
              <a:gd name="connsiteX130" fmla="*/ 3359 w 4838076"/>
              <a:gd name="connsiteY130" fmla="*/ 6251575 h 6858000"/>
              <a:gd name="connsiteX131" fmla="*/ 11758 w 4838076"/>
              <a:gd name="connsiteY131" fmla="*/ 6311900 h 6858000"/>
              <a:gd name="connsiteX132" fmla="*/ 23515 w 4838076"/>
              <a:gd name="connsiteY132" fmla="*/ 6361112 h 6858000"/>
              <a:gd name="connsiteX133" fmla="*/ 38632 w 4838076"/>
              <a:gd name="connsiteY133" fmla="*/ 6407150 h 6858000"/>
              <a:gd name="connsiteX134" fmla="*/ 55427 w 4838076"/>
              <a:gd name="connsiteY134" fmla="*/ 6448425 h 6858000"/>
              <a:gd name="connsiteX135" fmla="*/ 73903 w 4838076"/>
              <a:gd name="connsiteY135" fmla="*/ 6488112 h 6858000"/>
              <a:gd name="connsiteX136" fmla="*/ 92379 w 4838076"/>
              <a:gd name="connsiteY136" fmla="*/ 6523037 h 6858000"/>
              <a:gd name="connsiteX137" fmla="*/ 112534 w 4838076"/>
              <a:gd name="connsiteY137" fmla="*/ 6561137 h 6858000"/>
              <a:gd name="connsiteX138" fmla="*/ 132689 w 4838076"/>
              <a:gd name="connsiteY138" fmla="*/ 6597650 h 6858000"/>
              <a:gd name="connsiteX139" fmla="*/ 149485 w 4838076"/>
              <a:gd name="connsiteY139" fmla="*/ 6640512 h 6858000"/>
              <a:gd name="connsiteX140" fmla="*/ 166281 w 4838076"/>
              <a:gd name="connsiteY140" fmla="*/ 6683375 h 6858000"/>
              <a:gd name="connsiteX141" fmla="*/ 176358 w 4838076"/>
              <a:gd name="connsiteY141" fmla="*/ 6735762 h 6858000"/>
              <a:gd name="connsiteX142" fmla="*/ 184756 w 4838076"/>
              <a:gd name="connsiteY142" fmla="*/ 6791325 h 6858000"/>
              <a:gd name="connsiteX143" fmla="*/ 189795 w 4838076"/>
              <a:gd name="connsiteY143" fmla="*/ 6858000 h 6858000"/>
              <a:gd name="connsiteX144" fmla="*/ 334173 w 4838076"/>
              <a:gd name="connsiteY144" fmla="*/ 6858000 h 6858000"/>
              <a:gd name="connsiteX145" fmla="*/ 334174 w 4838076"/>
              <a:gd name="connsiteY145" fmla="*/ 6858000 h 6858000"/>
              <a:gd name="connsiteX146" fmla="*/ 3459219 w 4838076"/>
              <a:gd name="connsiteY146" fmla="*/ 6858000 h 6858000"/>
              <a:gd name="connsiteX147" fmla="*/ 4417162 w 4838076"/>
              <a:gd name="connsiteY147" fmla="*/ 6858000 h 6858000"/>
              <a:gd name="connsiteX148" fmla="*/ 4838076 w 4838076"/>
              <a:gd name="connsiteY14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4838076" h="6858000">
                <a:moveTo>
                  <a:pt x="4838076" y="0"/>
                </a:moveTo>
                <a:lnTo>
                  <a:pt x="4417162" y="0"/>
                </a:lnTo>
                <a:lnTo>
                  <a:pt x="3459219" y="0"/>
                </a:lnTo>
                <a:lnTo>
                  <a:pt x="334174" y="0"/>
                </a:lnTo>
                <a:lnTo>
                  <a:pt x="334173" y="0"/>
                </a:lnTo>
                <a:lnTo>
                  <a:pt x="189795" y="0"/>
                </a:lnTo>
                <a:lnTo>
                  <a:pt x="184756" y="66675"/>
                </a:lnTo>
                <a:lnTo>
                  <a:pt x="176358" y="122237"/>
                </a:lnTo>
                <a:lnTo>
                  <a:pt x="166281" y="174625"/>
                </a:lnTo>
                <a:lnTo>
                  <a:pt x="149485" y="217487"/>
                </a:lnTo>
                <a:lnTo>
                  <a:pt x="132689" y="260350"/>
                </a:lnTo>
                <a:lnTo>
                  <a:pt x="112534" y="296862"/>
                </a:lnTo>
                <a:lnTo>
                  <a:pt x="92379" y="334962"/>
                </a:lnTo>
                <a:lnTo>
                  <a:pt x="73903" y="369887"/>
                </a:lnTo>
                <a:lnTo>
                  <a:pt x="55427" y="409575"/>
                </a:lnTo>
                <a:lnTo>
                  <a:pt x="38632" y="450850"/>
                </a:lnTo>
                <a:lnTo>
                  <a:pt x="23515" y="496887"/>
                </a:lnTo>
                <a:lnTo>
                  <a:pt x="11758" y="546100"/>
                </a:lnTo>
                <a:lnTo>
                  <a:pt x="3359" y="606425"/>
                </a:lnTo>
                <a:lnTo>
                  <a:pt x="0" y="673100"/>
                </a:lnTo>
                <a:lnTo>
                  <a:pt x="3359" y="744537"/>
                </a:lnTo>
                <a:lnTo>
                  <a:pt x="11758" y="801687"/>
                </a:lnTo>
                <a:lnTo>
                  <a:pt x="23515" y="854075"/>
                </a:lnTo>
                <a:lnTo>
                  <a:pt x="38632" y="901700"/>
                </a:lnTo>
                <a:lnTo>
                  <a:pt x="55427" y="942975"/>
                </a:lnTo>
                <a:lnTo>
                  <a:pt x="75583" y="981075"/>
                </a:lnTo>
                <a:lnTo>
                  <a:pt x="95738" y="1017587"/>
                </a:lnTo>
                <a:lnTo>
                  <a:pt x="115893" y="1055687"/>
                </a:lnTo>
                <a:lnTo>
                  <a:pt x="134368" y="1095375"/>
                </a:lnTo>
                <a:lnTo>
                  <a:pt x="152844" y="1136650"/>
                </a:lnTo>
                <a:lnTo>
                  <a:pt x="167960" y="1182687"/>
                </a:lnTo>
                <a:lnTo>
                  <a:pt x="178038" y="1235075"/>
                </a:lnTo>
                <a:lnTo>
                  <a:pt x="188115" y="1295400"/>
                </a:lnTo>
                <a:lnTo>
                  <a:pt x="189795" y="1363662"/>
                </a:lnTo>
                <a:lnTo>
                  <a:pt x="188115" y="1431925"/>
                </a:lnTo>
                <a:lnTo>
                  <a:pt x="178038" y="1492250"/>
                </a:lnTo>
                <a:lnTo>
                  <a:pt x="167960" y="1544637"/>
                </a:lnTo>
                <a:lnTo>
                  <a:pt x="152844" y="1589087"/>
                </a:lnTo>
                <a:lnTo>
                  <a:pt x="134368" y="1631950"/>
                </a:lnTo>
                <a:lnTo>
                  <a:pt x="115893" y="1671637"/>
                </a:lnTo>
                <a:lnTo>
                  <a:pt x="95738" y="1708150"/>
                </a:lnTo>
                <a:lnTo>
                  <a:pt x="75583" y="1743075"/>
                </a:lnTo>
                <a:lnTo>
                  <a:pt x="55427" y="1782762"/>
                </a:lnTo>
                <a:lnTo>
                  <a:pt x="38632" y="1824037"/>
                </a:lnTo>
                <a:lnTo>
                  <a:pt x="23515" y="1870075"/>
                </a:lnTo>
                <a:lnTo>
                  <a:pt x="11758" y="1922462"/>
                </a:lnTo>
                <a:lnTo>
                  <a:pt x="3359" y="1982787"/>
                </a:lnTo>
                <a:lnTo>
                  <a:pt x="0" y="2051050"/>
                </a:lnTo>
                <a:lnTo>
                  <a:pt x="3359" y="2119312"/>
                </a:lnTo>
                <a:lnTo>
                  <a:pt x="11758" y="2179637"/>
                </a:lnTo>
                <a:lnTo>
                  <a:pt x="23515" y="2232025"/>
                </a:lnTo>
                <a:lnTo>
                  <a:pt x="38632" y="2278062"/>
                </a:lnTo>
                <a:lnTo>
                  <a:pt x="55427" y="2319337"/>
                </a:lnTo>
                <a:lnTo>
                  <a:pt x="75583" y="2359025"/>
                </a:lnTo>
                <a:lnTo>
                  <a:pt x="95738" y="2395537"/>
                </a:lnTo>
                <a:lnTo>
                  <a:pt x="115893" y="2433637"/>
                </a:lnTo>
                <a:lnTo>
                  <a:pt x="134368" y="2471737"/>
                </a:lnTo>
                <a:lnTo>
                  <a:pt x="152844" y="2513012"/>
                </a:lnTo>
                <a:lnTo>
                  <a:pt x="167960" y="2560637"/>
                </a:lnTo>
                <a:lnTo>
                  <a:pt x="178038" y="2613025"/>
                </a:lnTo>
                <a:lnTo>
                  <a:pt x="188115" y="2671762"/>
                </a:lnTo>
                <a:lnTo>
                  <a:pt x="189795" y="2741612"/>
                </a:lnTo>
                <a:lnTo>
                  <a:pt x="188115" y="2809875"/>
                </a:lnTo>
                <a:lnTo>
                  <a:pt x="178038" y="2868612"/>
                </a:lnTo>
                <a:lnTo>
                  <a:pt x="167960" y="2922587"/>
                </a:lnTo>
                <a:lnTo>
                  <a:pt x="152844" y="2967037"/>
                </a:lnTo>
                <a:lnTo>
                  <a:pt x="134368" y="3009900"/>
                </a:lnTo>
                <a:lnTo>
                  <a:pt x="115893" y="3046412"/>
                </a:lnTo>
                <a:lnTo>
                  <a:pt x="95738" y="3084512"/>
                </a:lnTo>
                <a:lnTo>
                  <a:pt x="75583" y="3121025"/>
                </a:lnTo>
                <a:lnTo>
                  <a:pt x="55427" y="3160712"/>
                </a:lnTo>
                <a:lnTo>
                  <a:pt x="38632" y="3201987"/>
                </a:lnTo>
                <a:lnTo>
                  <a:pt x="23515" y="3248025"/>
                </a:lnTo>
                <a:lnTo>
                  <a:pt x="11758" y="3300412"/>
                </a:lnTo>
                <a:lnTo>
                  <a:pt x="3359" y="3360737"/>
                </a:lnTo>
                <a:lnTo>
                  <a:pt x="0" y="3427412"/>
                </a:lnTo>
                <a:lnTo>
                  <a:pt x="3359" y="3497262"/>
                </a:lnTo>
                <a:lnTo>
                  <a:pt x="11758" y="3557587"/>
                </a:lnTo>
                <a:lnTo>
                  <a:pt x="23515" y="3609975"/>
                </a:lnTo>
                <a:lnTo>
                  <a:pt x="38632" y="3656012"/>
                </a:lnTo>
                <a:lnTo>
                  <a:pt x="55427" y="3697287"/>
                </a:lnTo>
                <a:lnTo>
                  <a:pt x="75583" y="3736975"/>
                </a:lnTo>
                <a:lnTo>
                  <a:pt x="115893" y="3811587"/>
                </a:lnTo>
                <a:lnTo>
                  <a:pt x="134368" y="3848100"/>
                </a:lnTo>
                <a:lnTo>
                  <a:pt x="152844" y="3890962"/>
                </a:lnTo>
                <a:lnTo>
                  <a:pt x="167960" y="3935412"/>
                </a:lnTo>
                <a:lnTo>
                  <a:pt x="178038" y="3987800"/>
                </a:lnTo>
                <a:lnTo>
                  <a:pt x="188115" y="4048125"/>
                </a:lnTo>
                <a:lnTo>
                  <a:pt x="189795" y="4116387"/>
                </a:lnTo>
                <a:lnTo>
                  <a:pt x="188115" y="4186237"/>
                </a:lnTo>
                <a:lnTo>
                  <a:pt x="178038" y="4244975"/>
                </a:lnTo>
                <a:lnTo>
                  <a:pt x="167960" y="4297362"/>
                </a:lnTo>
                <a:lnTo>
                  <a:pt x="152844" y="4343400"/>
                </a:lnTo>
                <a:lnTo>
                  <a:pt x="134368" y="4386262"/>
                </a:lnTo>
                <a:lnTo>
                  <a:pt x="115893" y="4424362"/>
                </a:lnTo>
                <a:lnTo>
                  <a:pt x="75583" y="4498975"/>
                </a:lnTo>
                <a:lnTo>
                  <a:pt x="55427" y="4537075"/>
                </a:lnTo>
                <a:lnTo>
                  <a:pt x="38632" y="4579937"/>
                </a:lnTo>
                <a:lnTo>
                  <a:pt x="23515" y="4625975"/>
                </a:lnTo>
                <a:lnTo>
                  <a:pt x="11758" y="4678362"/>
                </a:lnTo>
                <a:lnTo>
                  <a:pt x="3359" y="4738687"/>
                </a:lnTo>
                <a:lnTo>
                  <a:pt x="0" y="4806950"/>
                </a:lnTo>
                <a:lnTo>
                  <a:pt x="3359" y="4875212"/>
                </a:lnTo>
                <a:lnTo>
                  <a:pt x="11758" y="4935537"/>
                </a:lnTo>
                <a:lnTo>
                  <a:pt x="23515" y="4987925"/>
                </a:lnTo>
                <a:lnTo>
                  <a:pt x="38632" y="5033962"/>
                </a:lnTo>
                <a:lnTo>
                  <a:pt x="55427" y="5075237"/>
                </a:lnTo>
                <a:lnTo>
                  <a:pt x="75583" y="5114925"/>
                </a:lnTo>
                <a:lnTo>
                  <a:pt x="95738" y="5149850"/>
                </a:lnTo>
                <a:lnTo>
                  <a:pt x="115893" y="5186362"/>
                </a:lnTo>
                <a:lnTo>
                  <a:pt x="134368" y="5226050"/>
                </a:lnTo>
                <a:lnTo>
                  <a:pt x="152844" y="5268912"/>
                </a:lnTo>
                <a:lnTo>
                  <a:pt x="167960" y="5313362"/>
                </a:lnTo>
                <a:lnTo>
                  <a:pt x="178038" y="5365750"/>
                </a:lnTo>
                <a:lnTo>
                  <a:pt x="188115" y="5426075"/>
                </a:lnTo>
                <a:lnTo>
                  <a:pt x="189795" y="5494337"/>
                </a:lnTo>
                <a:lnTo>
                  <a:pt x="188115" y="5562600"/>
                </a:lnTo>
                <a:lnTo>
                  <a:pt x="178038" y="5622925"/>
                </a:lnTo>
                <a:lnTo>
                  <a:pt x="167960" y="5675312"/>
                </a:lnTo>
                <a:lnTo>
                  <a:pt x="152844" y="5721350"/>
                </a:lnTo>
                <a:lnTo>
                  <a:pt x="134368" y="5762625"/>
                </a:lnTo>
                <a:lnTo>
                  <a:pt x="115893" y="5802312"/>
                </a:lnTo>
                <a:lnTo>
                  <a:pt x="95738" y="5840412"/>
                </a:lnTo>
                <a:lnTo>
                  <a:pt x="75583" y="5876925"/>
                </a:lnTo>
                <a:lnTo>
                  <a:pt x="55427" y="5915025"/>
                </a:lnTo>
                <a:lnTo>
                  <a:pt x="38632" y="5956300"/>
                </a:lnTo>
                <a:lnTo>
                  <a:pt x="23515" y="6003925"/>
                </a:lnTo>
                <a:lnTo>
                  <a:pt x="11758" y="6056312"/>
                </a:lnTo>
                <a:lnTo>
                  <a:pt x="3359" y="6113462"/>
                </a:lnTo>
                <a:lnTo>
                  <a:pt x="0" y="6183312"/>
                </a:lnTo>
                <a:lnTo>
                  <a:pt x="3359" y="6251575"/>
                </a:lnTo>
                <a:lnTo>
                  <a:pt x="11758" y="6311900"/>
                </a:lnTo>
                <a:lnTo>
                  <a:pt x="23515" y="6361112"/>
                </a:lnTo>
                <a:lnTo>
                  <a:pt x="38632" y="6407150"/>
                </a:lnTo>
                <a:lnTo>
                  <a:pt x="55427" y="6448425"/>
                </a:lnTo>
                <a:lnTo>
                  <a:pt x="73903" y="6488112"/>
                </a:lnTo>
                <a:lnTo>
                  <a:pt x="92379" y="6523037"/>
                </a:lnTo>
                <a:lnTo>
                  <a:pt x="112534" y="6561137"/>
                </a:lnTo>
                <a:lnTo>
                  <a:pt x="132689" y="6597650"/>
                </a:lnTo>
                <a:lnTo>
                  <a:pt x="149485" y="6640512"/>
                </a:lnTo>
                <a:lnTo>
                  <a:pt x="166281" y="6683375"/>
                </a:lnTo>
                <a:lnTo>
                  <a:pt x="176358" y="6735762"/>
                </a:lnTo>
                <a:lnTo>
                  <a:pt x="184756" y="6791325"/>
                </a:lnTo>
                <a:lnTo>
                  <a:pt x="189795" y="6858000"/>
                </a:lnTo>
                <a:lnTo>
                  <a:pt x="334173" y="6858000"/>
                </a:lnTo>
                <a:lnTo>
                  <a:pt x="334174" y="6858000"/>
                </a:lnTo>
                <a:lnTo>
                  <a:pt x="3459219" y="6858000"/>
                </a:lnTo>
                <a:lnTo>
                  <a:pt x="4417162" y="6858000"/>
                </a:lnTo>
                <a:lnTo>
                  <a:pt x="4838076" y="6858000"/>
                </a:lnTo>
                <a:close/>
              </a:path>
            </a:pathLst>
          </a:custGeom>
          <a:solidFill>
            <a:schemeClr val="accent1">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3" name="Content Placeholder 2">
            <a:extLst>
              <a:ext uri="{FF2B5EF4-FFF2-40B4-BE49-F238E27FC236}">
                <a16:creationId xmlns:a16="http://schemas.microsoft.com/office/drawing/2014/main" id="{4743339A-A575-324F-A0A2-0B8FC56DE07E}"/>
              </a:ext>
            </a:extLst>
          </p:cNvPr>
          <p:cNvSpPr>
            <a:spLocks noGrp="1"/>
          </p:cNvSpPr>
          <p:nvPr>
            <p:ph idx="1"/>
          </p:nvPr>
        </p:nvSpPr>
        <p:spPr>
          <a:xfrm>
            <a:off x="766762" y="963827"/>
            <a:ext cx="3384000" cy="4387573"/>
          </a:xfrm>
        </p:spPr>
        <p:txBody>
          <a:bodyPr>
            <a:normAutofit fontScale="92500" lnSpcReduction="10000"/>
          </a:bodyPr>
          <a:lstStyle/>
          <a:p>
            <a:pPr marL="0" indent="0" algn="ctr">
              <a:buNone/>
            </a:pPr>
            <a:r>
              <a:rPr lang="en-US" sz="4000" dirty="0">
                <a:solidFill>
                  <a:srgbClr val="FFFFFF"/>
                </a:solidFill>
              </a:rPr>
              <a:t>Let’s take a</a:t>
            </a:r>
          </a:p>
          <a:p>
            <a:pPr marL="0" indent="0" algn="ctr">
              <a:buNone/>
            </a:pPr>
            <a:r>
              <a:rPr lang="en-US" sz="4000" dirty="0">
                <a:solidFill>
                  <a:srgbClr val="FFFFFF"/>
                </a:solidFill>
              </a:rPr>
              <a:t>journey down the road to shifting from </a:t>
            </a:r>
            <a:r>
              <a:rPr lang="en-US" sz="4000" dirty="0">
                <a:solidFill>
                  <a:srgbClr val="F5E33C"/>
                </a:solidFill>
              </a:rPr>
              <a:t>Manual</a:t>
            </a:r>
            <a:r>
              <a:rPr lang="en-US" sz="4000" dirty="0">
                <a:solidFill>
                  <a:srgbClr val="FFFFFF"/>
                </a:solidFill>
              </a:rPr>
              <a:t> to </a:t>
            </a:r>
            <a:r>
              <a:rPr lang="en-US" sz="4000" dirty="0">
                <a:solidFill>
                  <a:schemeClr val="accent6"/>
                </a:solidFill>
              </a:rPr>
              <a:t>Automated Testing</a:t>
            </a:r>
          </a:p>
          <a:p>
            <a:pPr marL="0" indent="0" algn="ctr">
              <a:buNone/>
            </a:pPr>
            <a:r>
              <a:rPr lang="en-US" sz="2000" dirty="0">
                <a:solidFill>
                  <a:srgbClr val="FFFFFF">
                    <a:alpha val="60000"/>
                  </a:srgbClr>
                </a:solidFill>
              </a:rPr>
              <a:t>Lisa Walsh, Software Quality Manager</a:t>
            </a:r>
          </a:p>
          <a:p>
            <a:pPr marL="0" indent="0" algn="ctr">
              <a:buNone/>
            </a:pPr>
            <a:r>
              <a:rPr lang="en-US" sz="2000" dirty="0">
                <a:solidFill>
                  <a:srgbClr val="FFFFFF">
                    <a:alpha val="60000"/>
                  </a:srgbClr>
                </a:solidFill>
              </a:rPr>
              <a:t>Wegmans Food Markets</a:t>
            </a:r>
          </a:p>
          <a:p>
            <a:pPr marL="0" indent="0">
              <a:buNone/>
            </a:pPr>
            <a:endParaRPr lang="en-US" sz="2000" dirty="0">
              <a:solidFill>
                <a:schemeClr val="bg1">
                  <a:alpha val="60000"/>
                </a:schemeClr>
              </a:solidFill>
            </a:endParaRPr>
          </a:p>
        </p:txBody>
      </p:sp>
      <p:pic>
        <p:nvPicPr>
          <p:cNvPr id="5" name="Picture 4" descr="A picture containing text, road, way, scene&#10;&#10;Description automatically generated">
            <a:extLst>
              <a:ext uri="{FF2B5EF4-FFF2-40B4-BE49-F238E27FC236}">
                <a16:creationId xmlns:a16="http://schemas.microsoft.com/office/drawing/2014/main" id="{59A92DF9-DAD3-EB49-96AD-5081CF9C9B0B}"/>
              </a:ext>
            </a:extLst>
          </p:cNvPr>
          <p:cNvPicPr>
            <a:picLocks noChangeAspect="1"/>
          </p:cNvPicPr>
          <p:nvPr/>
        </p:nvPicPr>
        <p:blipFill>
          <a:blip r:embed="rId2"/>
          <a:stretch>
            <a:fillRect/>
          </a:stretch>
        </p:blipFill>
        <p:spPr>
          <a:xfrm>
            <a:off x="5411053" y="1421766"/>
            <a:ext cx="6014185" cy="4014468"/>
          </a:xfrm>
          <a:prstGeom prst="rect">
            <a:avLst/>
          </a:prstGeom>
        </p:spPr>
      </p:pic>
    </p:spTree>
    <p:extLst>
      <p:ext uri="{BB962C8B-B14F-4D97-AF65-F5344CB8AC3E}">
        <p14:creationId xmlns:p14="http://schemas.microsoft.com/office/powerpoint/2010/main" val="1890088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417F422-E19F-0043-AF03-09272D15ED09}"/>
              </a:ext>
            </a:extLst>
          </p:cNvPr>
          <p:cNvSpPr/>
          <p:nvPr/>
        </p:nvSpPr>
        <p:spPr>
          <a:xfrm>
            <a:off x="3647009"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92549790-D2F8-47B0-9AC1-D3E3FFFE316F}"/>
              </a:ext>
            </a:extLst>
          </p:cNvPr>
          <p:cNvSpPr/>
          <p:nvPr/>
        </p:nvSpPr>
        <p:spPr>
          <a:xfrm>
            <a:off x="1809671" y="2776259"/>
            <a:ext cx="1593445" cy="406986"/>
          </a:xfrm>
          <a:prstGeom prst="roundRect">
            <a:avLst>
              <a:gd name="adj" fmla="val 50000"/>
            </a:avLst>
          </a:prstGeom>
          <a:solidFill>
            <a:srgbClr val="FF0000"/>
          </a:solidFill>
          <a:ln>
            <a:solidFill>
              <a:srgbClr val="FF0000"/>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2017</a:t>
            </a:r>
          </a:p>
        </p:txBody>
      </p:sp>
      <p:sp>
        <p:nvSpPr>
          <p:cNvPr id="69" name="Rectangle: Rounded Corners 68">
            <a:extLst>
              <a:ext uri="{FF2B5EF4-FFF2-40B4-BE49-F238E27FC236}">
                <a16:creationId xmlns:a16="http://schemas.microsoft.com/office/drawing/2014/main" id="{F3731C01-A51D-4DB8-A447-F4E884B0EBFA}"/>
              </a:ext>
            </a:extLst>
          </p:cNvPr>
          <p:cNvSpPr/>
          <p:nvPr/>
        </p:nvSpPr>
        <p:spPr>
          <a:xfrm>
            <a:off x="3701754" y="2769545"/>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8</a:t>
            </a:r>
          </a:p>
        </p:txBody>
      </p:sp>
      <p:sp>
        <p:nvSpPr>
          <p:cNvPr id="72" name="Rectangle: Rounded Corners 71">
            <a:extLst>
              <a:ext uri="{FF2B5EF4-FFF2-40B4-BE49-F238E27FC236}">
                <a16:creationId xmlns:a16="http://schemas.microsoft.com/office/drawing/2014/main" id="{B283A46F-53C3-4FA3-890B-FACC79BF8F88}"/>
              </a:ext>
            </a:extLst>
          </p:cNvPr>
          <p:cNvSpPr/>
          <p:nvPr/>
        </p:nvSpPr>
        <p:spPr>
          <a:xfrm>
            <a:off x="5696508"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9</a:t>
            </a:r>
          </a:p>
        </p:txBody>
      </p:sp>
      <p:sp>
        <p:nvSpPr>
          <p:cNvPr id="75" name="Rectangle: Rounded Corners 74">
            <a:extLst>
              <a:ext uri="{FF2B5EF4-FFF2-40B4-BE49-F238E27FC236}">
                <a16:creationId xmlns:a16="http://schemas.microsoft.com/office/drawing/2014/main" id="{FA73C4D0-DDD8-4727-8282-8CF8773EBF11}"/>
              </a:ext>
            </a:extLst>
          </p:cNvPr>
          <p:cNvSpPr/>
          <p:nvPr/>
        </p:nvSpPr>
        <p:spPr>
          <a:xfrm>
            <a:off x="7643334"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0</a:t>
            </a:r>
          </a:p>
        </p:txBody>
      </p:sp>
      <p:sp>
        <p:nvSpPr>
          <p:cNvPr id="81" name="TextBox 80">
            <a:extLst>
              <a:ext uri="{FF2B5EF4-FFF2-40B4-BE49-F238E27FC236}">
                <a16:creationId xmlns:a16="http://schemas.microsoft.com/office/drawing/2014/main" id="{5C23DCAC-30B5-4B84-A2C8-3FEC1A416002}"/>
              </a:ext>
            </a:extLst>
          </p:cNvPr>
          <p:cNvSpPr txBox="1"/>
          <p:nvPr/>
        </p:nvSpPr>
        <p:spPr>
          <a:xfrm>
            <a:off x="208677" y="3457630"/>
            <a:ext cx="1441618" cy="432792"/>
          </a:xfrm>
          <a:prstGeom prst="roundRect">
            <a:avLst>
              <a:gd name="adj" fmla="val 50000"/>
            </a:avLst>
          </a:prstGeom>
          <a:solidFill>
            <a:schemeClr val="accent1"/>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People</a:t>
            </a:r>
          </a:p>
        </p:txBody>
      </p:sp>
      <p:sp>
        <p:nvSpPr>
          <p:cNvPr id="112" name="TextBox 111">
            <a:extLst>
              <a:ext uri="{FF2B5EF4-FFF2-40B4-BE49-F238E27FC236}">
                <a16:creationId xmlns:a16="http://schemas.microsoft.com/office/drawing/2014/main" id="{14A3DD07-8027-4B98-B1FA-3F5F60D64BBB}"/>
              </a:ext>
            </a:extLst>
          </p:cNvPr>
          <p:cNvSpPr txBox="1"/>
          <p:nvPr/>
        </p:nvSpPr>
        <p:spPr>
          <a:xfrm>
            <a:off x="208677" y="4738610"/>
            <a:ext cx="1441618" cy="432792"/>
          </a:xfrm>
          <a:prstGeom prst="roundRect">
            <a:avLst>
              <a:gd name="adj" fmla="val 50000"/>
            </a:avLst>
          </a:prstGeom>
          <a:solidFill>
            <a:srgbClr val="9F53ED"/>
          </a:solidFill>
          <a:ln>
            <a:solidFill>
              <a:srgbClr val="9F53ED"/>
            </a:solidFill>
          </a:ln>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est Approach</a:t>
            </a:r>
          </a:p>
        </p:txBody>
      </p:sp>
      <p:sp>
        <p:nvSpPr>
          <p:cNvPr id="118" name="TextBox 117">
            <a:extLst>
              <a:ext uri="{FF2B5EF4-FFF2-40B4-BE49-F238E27FC236}">
                <a16:creationId xmlns:a16="http://schemas.microsoft.com/office/drawing/2014/main" id="{C7794342-9C22-4241-99A6-56E9CED9F7C3}"/>
              </a:ext>
            </a:extLst>
          </p:cNvPr>
          <p:cNvSpPr txBox="1"/>
          <p:nvPr/>
        </p:nvSpPr>
        <p:spPr>
          <a:xfrm>
            <a:off x="208677" y="6098659"/>
            <a:ext cx="1441618" cy="432792"/>
          </a:xfrm>
          <a:prstGeom prst="roundRect">
            <a:avLst>
              <a:gd name="adj" fmla="val 50000"/>
            </a:avLst>
          </a:prstGeom>
          <a:solidFill>
            <a:schemeClr val="accent3"/>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ools</a:t>
            </a:r>
          </a:p>
        </p:txBody>
      </p:sp>
      <p:pic>
        <p:nvPicPr>
          <p:cNvPr id="52" name="Picture 51">
            <a:extLst>
              <a:ext uri="{FF2B5EF4-FFF2-40B4-BE49-F238E27FC236}">
                <a16:creationId xmlns:a16="http://schemas.microsoft.com/office/drawing/2014/main" id="{7B9D4ECA-83BA-EB42-A415-4E2ADD5D8FDB}"/>
              </a:ext>
            </a:extLst>
          </p:cNvPr>
          <p:cNvPicPr>
            <a:picLocks noChangeAspect="1"/>
          </p:cNvPicPr>
          <p:nvPr/>
        </p:nvPicPr>
        <p:blipFill>
          <a:blip r:embed="rId3"/>
          <a:srcRect t="31198" b="31198"/>
          <a:stretch/>
        </p:blipFill>
        <p:spPr>
          <a:xfrm>
            <a:off x="20" y="10"/>
            <a:ext cx="12191980" cy="253298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6" name="Straight Connector 15">
            <a:extLst>
              <a:ext uri="{FF2B5EF4-FFF2-40B4-BE49-F238E27FC236}">
                <a16:creationId xmlns:a16="http://schemas.microsoft.com/office/drawing/2014/main" id="{11738CF9-7D7F-BE43-8B65-6F6BD81134F2}"/>
              </a:ext>
            </a:extLst>
          </p:cNvPr>
          <p:cNvCxnSpPr>
            <a:cxnSpLocks/>
          </p:cNvCxnSpPr>
          <p:nvPr/>
        </p:nvCxnSpPr>
        <p:spPr>
          <a:xfrm>
            <a:off x="4491660"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7" name="Rectangle 96">
            <a:extLst>
              <a:ext uri="{FF2B5EF4-FFF2-40B4-BE49-F238E27FC236}">
                <a16:creationId xmlns:a16="http://schemas.microsoft.com/office/drawing/2014/main" id="{08B2B614-C8B4-4FAF-92D2-9A21E1CC16EB}"/>
              </a:ext>
            </a:extLst>
          </p:cNvPr>
          <p:cNvSpPr/>
          <p:nvPr/>
        </p:nvSpPr>
        <p:spPr>
          <a:xfrm>
            <a:off x="1913481" y="3502268"/>
            <a:ext cx="1593444" cy="424732"/>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chemeClr val="accent1"/>
                </a:solidFill>
              </a:rPr>
              <a:t>Mission Statement</a:t>
            </a:r>
          </a:p>
          <a:p>
            <a:pPr marL="171450" indent="-171450">
              <a:lnSpc>
                <a:spcPct val="90000"/>
              </a:lnSpc>
              <a:buFont typeface="Arial" panose="020B0604020202020204" pitchFamily="34" charset="0"/>
              <a:buChar char="•"/>
            </a:pPr>
            <a:r>
              <a:rPr lang="en-US" sz="1200" b="1" dirty="0">
                <a:solidFill>
                  <a:schemeClr val="accent1"/>
                </a:solidFill>
              </a:rPr>
              <a:t>Embed QA</a:t>
            </a:r>
          </a:p>
        </p:txBody>
      </p:sp>
      <p:sp>
        <p:nvSpPr>
          <p:cNvPr id="56" name="Rectangle 55">
            <a:extLst>
              <a:ext uri="{FF2B5EF4-FFF2-40B4-BE49-F238E27FC236}">
                <a16:creationId xmlns:a16="http://schemas.microsoft.com/office/drawing/2014/main" id="{898527AF-DC86-524F-8C2F-289B645E821C}"/>
              </a:ext>
            </a:extLst>
          </p:cNvPr>
          <p:cNvSpPr/>
          <p:nvPr/>
        </p:nvSpPr>
        <p:spPr>
          <a:xfrm>
            <a:off x="5648580"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83E774EC-52E9-5B4A-A4E0-9D68BFAE8CB9}"/>
              </a:ext>
            </a:extLst>
          </p:cNvPr>
          <p:cNvCxnSpPr>
            <a:cxnSpLocks/>
          </p:cNvCxnSpPr>
          <p:nvPr/>
        </p:nvCxnSpPr>
        <p:spPr>
          <a:xfrm>
            <a:off x="6493231"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8" name="Rectangle 57">
            <a:extLst>
              <a:ext uri="{FF2B5EF4-FFF2-40B4-BE49-F238E27FC236}">
                <a16:creationId xmlns:a16="http://schemas.microsoft.com/office/drawing/2014/main" id="{FAEB72B3-D760-DB4E-B89A-F5177ADF4797}"/>
              </a:ext>
            </a:extLst>
          </p:cNvPr>
          <p:cNvSpPr/>
          <p:nvPr/>
        </p:nvSpPr>
        <p:spPr>
          <a:xfrm>
            <a:off x="7595406"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Connector 58">
            <a:extLst>
              <a:ext uri="{FF2B5EF4-FFF2-40B4-BE49-F238E27FC236}">
                <a16:creationId xmlns:a16="http://schemas.microsoft.com/office/drawing/2014/main" id="{94EE696C-0CE8-3D41-9892-FEEE6E65ED46}"/>
              </a:ext>
            </a:extLst>
          </p:cNvPr>
          <p:cNvCxnSpPr>
            <a:cxnSpLocks/>
          </p:cNvCxnSpPr>
          <p:nvPr/>
        </p:nvCxnSpPr>
        <p:spPr>
          <a:xfrm>
            <a:off x="8440057"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Rounded Corners 74">
            <a:extLst>
              <a:ext uri="{FF2B5EF4-FFF2-40B4-BE49-F238E27FC236}">
                <a16:creationId xmlns:a16="http://schemas.microsoft.com/office/drawing/2014/main" id="{C555A392-E2F5-F647-A613-691839CB1CC4}"/>
              </a:ext>
            </a:extLst>
          </p:cNvPr>
          <p:cNvSpPr/>
          <p:nvPr/>
        </p:nvSpPr>
        <p:spPr>
          <a:xfrm>
            <a:off x="9596975"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1</a:t>
            </a:r>
          </a:p>
        </p:txBody>
      </p:sp>
      <p:sp>
        <p:nvSpPr>
          <p:cNvPr id="63" name="Rectangle 62">
            <a:extLst>
              <a:ext uri="{FF2B5EF4-FFF2-40B4-BE49-F238E27FC236}">
                <a16:creationId xmlns:a16="http://schemas.microsoft.com/office/drawing/2014/main" id="{A3E71FC9-E258-0248-A3BC-D8CD588C1678}"/>
              </a:ext>
            </a:extLst>
          </p:cNvPr>
          <p:cNvSpPr/>
          <p:nvPr/>
        </p:nvSpPr>
        <p:spPr>
          <a:xfrm>
            <a:off x="9542232"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a:extLst>
              <a:ext uri="{FF2B5EF4-FFF2-40B4-BE49-F238E27FC236}">
                <a16:creationId xmlns:a16="http://schemas.microsoft.com/office/drawing/2014/main" id="{6D6C98DD-44EC-7F4D-BEA2-DFAA1FBE8698}"/>
              </a:ext>
            </a:extLst>
          </p:cNvPr>
          <p:cNvCxnSpPr>
            <a:cxnSpLocks/>
          </p:cNvCxnSpPr>
          <p:nvPr/>
        </p:nvCxnSpPr>
        <p:spPr>
          <a:xfrm>
            <a:off x="10398534" y="3244276"/>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 name="Group 1">
            <a:extLst>
              <a:ext uri="{FF2B5EF4-FFF2-40B4-BE49-F238E27FC236}">
                <a16:creationId xmlns:a16="http://schemas.microsoft.com/office/drawing/2014/main" id="{2B35CCF4-E7BB-D04F-99E3-003A7B83E6BA}"/>
              </a:ext>
            </a:extLst>
          </p:cNvPr>
          <p:cNvGrpSpPr/>
          <p:nvPr/>
        </p:nvGrpSpPr>
        <p:grpSpPr>
          <a:xfrm>
            <a:off x="1809671" y="2330083"/>
            <a:ext cx="1735582" cy="432792"/>
            <a:chOff x="1809671" y="2330083"/>
            <a:chExt cx="1735582" cy="432792"/>
          </a:xfrm>
        </p:grpSpPr>
        <p:pic>
          <p:nvPicPr>
            <p:cNvPr id="23" name="Graphic 22" descr="Building Brick Wall with solid fill">
              <a:extLst>
                <a:ext uri="{FF2B5EF4-FFF2-40B4-BE49-F238E27FC236}">
                  <a16:creationId xmlns:a16="http://schemas.microsoft.com/office/drawing/2014/main" id="{9406FF8D-0C77-134D-B4FE-BF3BC4CC87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09671" y="2330083"/>
              <a:ext cx="432792" cy="432792"/>
            </a:xfrm>
            <a:prstGeom prst="rect">
              <a:avLst/>
            </a:prstGeom>
          </p:spPr>
        </p:pic>
        <p:sp>
          <p:nvSpPr>
            <p:cNvPr id="24" name="Rectangle 23">
              <a:extLst>
                <a:ext uri="{FF2B5EF4-FFF2-40B4-BE49-F238E27FC236}">
                  <a16:creationId xmlns:a16="http://schemas.microsoft.com/office/drawing/2014/main" id="{5F800BE2-93D5-A046-86C7-1B12C75264C1}"/>
                </a:ext>
              </a:extLst>
            </p:cNvPr>
            <p:cNvSpPr/>
            <p:nvPr/>
          </p:nvSpPr>
          <p:spPr>
            <a:xfrm>
              <a:off x="2242463" y="2476938"/>
              <a:ext cx="1302790" cy="258532"/>
            </a:xfrm>
            <a:prstGeom prst="rect">
              <a:avLst/>
            </a:prstGeom>
          </p:spPr>
          <p:txBody>
            <a:bodyPr wrap="square">
              <a:spAutoFit/>
            </a:bodyPr>
            <a:lstStyle/>
            <a:p>
              <a:pPr>
                <a:lnSpc>
                  <a:spcPct val="90000"/>
                </a:lnSpc>
              </a:pPr>
              <a:r>
                <a:rPr lang="en-US" sz="1200" b="1" dirty="0">
                  <a:solidFill>
                    <a:srgbClr val="FF0000"/>
                  </a:solidFill>
                </a:rPr>
                <a:t>Build Foundation</a:t>
              </a:r>
              <a:endParaRPr lang="id-ID" sz="1200" b="1" dirty="0">
                <a:solidFill>
                  <a:srgbClr val="FF0000"/>
                </a:solidFill>
              </a:endParaRPr>
            </a:p>
          </p:txBody>
        </p:sp>
      </p:grpSp>
    </p:spTree>
    <p:extLst>
      <p:ext uri="{BB962C8B-B14F-4D97-AF65-F5344CB8AC3E}">
        <p14:creationId xmlns:p14="http://schemas.microsoft.com/office/powerpoint/2010/main" val="227523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a:extLst>
              <a:ext uri="{FF2B5EF4-FFF2-40B4-BE49-F238E27FC236}">
                <a16:creationId xmlns:a16="http://schemas.microsoft.com/office/drawing/2014/main" id="{7B9D4ECA-83BA-EB42-A415-4E2ADD5D8FDB}"/>
              </a:ext>
            </a:extLst>
          </p:cNvPr>
          <p:cNvPicPr>
            <a:picLocks noChangeAspect="1"/>
          </p:cNvPicPr>
          <p:nvPr/>
        </p:nvPicPr>
        <p:blipFill>
          <a:blip r:embed="rId3"/>
          <a:srcRect t="23288" b="23288"/>
          <a:stretch/>
        </p:blipFill>
        <p:spPr>
          <a:xfrm>
            <a:off x="20" y="10"/>
            <a:ext cx="12191980" cy="253298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Rectangle 2">
            <a:extLst>
              <a:ext uri="{FF2B5EF4-FFF2-40B4-BE49-F238E27FC236}">
                <a16:creationId xmlns:a16="http://schemas.microsoft.com/office/drawing/2014/main" id="{25F1BDB7-160E-C74A-B2AC-0DA6FE703096}"/>
              </a:ext>
            </a:extLst>
          </p:cNvPr>
          <p:cNvSpPr/>
          <p:nvPr/>
        </p:nvSpPr>
        <p:spPr>
          <a:xfrm>
            <a:off x="1493921" y="2695074"/>
            <a:ext cx="9204158" cy="3785652"/>
          </a:xfrm>
          <a:prstGeom prst="rect">
            <a:avLst/>
          </a:prstGeom>
        </p:spPr>
        <p:txBody>
          <a:bodyPr wrap="square">
            <a:spAutoFit/>
          </a:bodyPr>
          <a:lstStyle/>
          <a:p>
            <a:pPr algn="ctr"/>
            <a:r>
              <a:rPr lang="en-US" sz="4000" dirty="0"/>
              <a:t>“At Wegmans the Software Quality team </a:t>
            </a:r>
            <a:r>
              <a:rPr lang="en-US" sz="4000" b="1" dirty="0">
                <a:solidFill>
                  <a:schemeClr val="accent2"/>
                </a:solidFill>
              </a:rPr>
              <a:t>aspires</a:t>
            </a:r>
            <a:r>
              <a:rPr lang="en-US" sz="4000" dirty="0"/>
              <a:t> to </a:t>
            </a:r>
            <a:r>
              <a:rPr lang="en-US" sz="4000" b="1" dirty="0">
                <a:solidFill>
                  <a:schemeClr val="accent2"/>
                </a:solidFill>
              </a:rPr>
              <a:t>deliver useful</a:t>
            </a:r>
            <a:r>
              <a:rPr lang="en-US" sz="4000" dirty="0">
                <a:solidFill>
                  <a:schemeClr val="accent2"/>
                </a:solidFill>
              </a:rPr>
              <a:t> </a:t>
            </a:r>
            <a:r>
              <a:rPr lang="en-US" sz="4000" b="1" dirty="0">
                <a:solidFill>
                  <a:schemeClr val="accent2"/>
                </a:solidFill>
              </a:rPr>
              <a:t>and quality </a:t>
            </a:r>
            <a:r>
              <a:rPr lang="en-US" sz="4000" dirty="0"/>
              <a:t>products through </a:t>
            </a:r>
            <a:r>
              <a:rPr lang="en-US" sz="4000" b="1" dirty="0">
                <a:solidFill>
                  <a:schemeClr val="accent2"/>
                </a:solidFill>
              </a:rPr>
              <a:t>high standards</a:t>
            </a:r>
            <a:r>
              <a:rPr lang="en-US" sz="4000" dirty="0">
                <a:solidFill>
                  <a:schemeClr val="accent2"/>
                </a:solidFill>
              </a:rPr>
              <a:t> </a:t>
            </a:r>
            <a:r>
              <a:rPr lang="en-US" sz="4000" dirty="0"/>
              <a:t>to our customers while</a:t>
            </a:r>
            <a:r>
              <a:rPr lang="en-US" sz="4000" b="1" dirty="0"/>
              <a:t> </a:t>
            </a:r>
            <a:r>
              <a:rPr lang="en-US" sz="4000" dirty="0"/>
              <a:t>meeting or exceeding customer satisfaction with </a:t>
            </a:r>
            <a:r>
              <a:rPr lang="en-US" sz="4000" b="1" dirty="0">
                <a:solidFill>
                  <a:schemeClr val="accent2"/>
                </a:solidFill>
              </a:rPr>
              <a:t>speed to market</a:t>
            </a:r>
            <a:r>
              <a:rPr lang="en-US" sz="4000" b="1" dirty="0"/>
              <a:t> </a:t>
            </a:r>
            <a:r>
              <a:rPr lang="en-US" sz="4000" dirty="0"/>
              <a:t>in mind. ”</a:t>
            </a:r>
          </a:p>
        </p:txBody>
      </p:sp>
    </p:spTree>
    <p:extLst>
      <p:ext uri="{BB962C8B-B14F-4D97-AF65-F5344CB8AC3E}">
        <p14:creationId xmlns:p14="http://schemas.microsoft.com/office/powerpoint/2010/main" val="113673740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wind"/>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417F422-E19F-0043-AF03-09272D15ED09}"/>
              </a:ext>
            </a:extLst>
          </p:cNvPr>
          <p:cNvSpPr/>
          <p:nvPr/>
        </p:nvSpPr>
        <p:spPr>
          <a:xfrm>
            <a:off x="3647009"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92549790-D2F8-47B0-9AC1-D3E3FFFE316F}"/>
              </a:ext>
            </a:extLst>
          </p:cNvPr>
          <p:cNvSpPr/>
          <p:nvPr/>
        </p:nvSpPr>
        <p:spPr>
          <a:xfrm>
            <a:off x="1809671" y="2776259"/>
            <a:ext cx="1593445" cy="406986"/>
          </a:xfrm>
          <a:prstGeom prst="roundRect">
            <a:avLst>
              <a:gd name="adj" fmla="val 50000"/>
            </a:avLst>
          </a:prstGeom>
          <a:solidFill>
            <a:srgbClr val="FF0000"/>
          </a:solidFill>
          <a:ln>
            <a:solidFill>
              <a:srgbClr val="FF0000"/>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2017</a:t>
            </a:r>
          </a:p>
        </p:txBody>
      </p:sp>
      <p:sp>
        <p:nvSpPr>
          <p:cNvPr id="69" name="Rectangle: Rounded Corners 68">
            <a:extLst>
              <a:ext uri="{FF2B5EF4-FFF2-40B4-BE49-F238E27FC236}">
                <a16:creationId xmlns:a16="http://schemas.microsoft.com/office/drawing/2014/main" id="{F3731C01-A51D-4DB8-A447-F4E884B0EBFA}"/>
              </a:ext>
            </a:extLst>
          </p:cNvPr>
          <p:cNvSpPr/>
          <p:nvPr/>
        </p:nvSpPr>
        <p:spPr>
          <a:xfrm>
            <a:off x="3701754" y="2769545"/>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8</a:t>
            </a:r>
          </a:p>
        </p:txBody>
      </p:sp>
      <p:sp>
        <p:nvSpPr>
          <p:cNvPr id="72" name="Rectangle: Rounded Corners 71">
            <a:extLst>
              <a:ext uri="{FF2B5EF4-FFF2-40B4-BE49-F238E27FC236}">
                <a16:creationId xmlns:a16="http://schemas.microsoft.com/office/drawing/2014/main" id="{B283A46F-53C3-4FA3-890B-FACC79BF8F88}"/>
              </a:ext>
            </a:extLst>
          </p:cNvPr>
          <p:cNvSpPr/>
          <p:nvPr/>
        </p:nvSpPr>
        <p:spPr>
          <a:xfrm>
            <a:off x="5696508"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9</a:t>
            </a:r>
          </a:p>
        </p:txBody>
      </p:sp>
      <p:sp>
        <p:nvSpPr>
          <p:cNvPr id="75" name="Rectangle: Rounded Corners 74">
            <a:extLst>
              <a:ext uri="{FF2B5EF4-FFF2-40B4-BE49-F238E27FC236}">
                <a16:creationId xmlns:a16="http://schemas.microsoft.com/office/drawing/2014/main" id="{FA73C4D0-DDD8-4727-8282-8CF8773EBF11}"/>
              </a:ext>
            </a:extLst>
          </p:cNvPr>
          <p:cNvSpPr/>
          <p:nvPr/>
        </p:nvSpPr>
        <p:spPr>
          <a:xfrm>
            <a:off x="7643334"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0</a:t>
            </a:r>
          </a:p>
        </p:txBody>
      </p:sp>
      <p:sp>
        <p:nvSpPr>
          <p:cNvPr id="81" name="TextBox 80">
            <a:extLst>
              <a:ext uri="{FF2B5EF4-FFF2-40B4-BE49-F238E27FC236}">
                <a16:creationId xmlns:a16="http://schemas.microsoft.com/office/drawing/2014/main" id="{5C23DCAC-30B5-4B84-A2C8-3FEC1A416002}"/>
              </a:ext>
            </a:extLst>
          </p:cNvPr>
          <p:cNvSpPr txBox="1"/>
          <p:nvPr/>
        </p:nvSpPr>
        <p:spPr>
          <a:xfrm>
            <a:off x="208677" y="3457630"/>
            <a:ext cx="1441618" cy="432792"/>
          </a:xfrm>
          <a:prstGeom prst="roundRect">
            <a:avLst>
              <a:gd name="adj" fmla="val 50000"/>
            </a:avLst>
          </a:prstGeom>
          <a:solidFill>
            <a:schemeClr val="accent1"/>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People</a:t>
            </a:r>
          </a:p>
        </p:txBody>
      </p:sp>
      <p:sp>
        <p:nvSpPr>
          <p:cNvPr id="112" name="TextBox 111">
            <a:extLst>
              <a:ext uri="{FF2B5EF4-FFF2-40B4-BE49-F238E27FC236}">
                <a16:creationId xmlns:a16="http://schemas.microsoft.com/office/drawing/2014/main" id="{14A3DD07-8027-4B98-B1FA-3F5F60D64BBB}"/>
              </a:ext>
            </a:extLst>
          </p:cNvPr>
          <p:cNvSpPr txBox="1"/>
          <p:nvPr/>
        </p:nvSpPr>
        <p:spPr>
          <a:xfrm>
            <a:off x="208677" y="4738610"/>
            <a:ext cx="1441618" cy="432792"/>
          </a:xfrm>
          <a:prstGeom prst="roundRect">
            <a:avLst>
              <a:gd name="adj" fmla="val 50000"/>
            </a:avLst>
          </a:prstGeom>
          <a:solidFill>
            <a:srgbClr val="9F53ED"/>
          </a:solidFill>
          <a:ln>
            <a:solidFill>
              <a:srgbClr val="9F53ED"/>
            </a:solidFill>
          </a:ln>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est Approach</a:t>
            </a:r>
          </a:p>
        </p:txBody>
      </p:sp>
      <p:sp>
        <p:nvSpPr>
          <p:cNvPr id="113" name="Rectangle 112">
            <a:extLst>
              <a:ext uri="{FF2B5EF4-FFF2-40B4-BE49-F238E27FC236}">
                <a16:creationId xmlns:a16="http://schemas.microsoft.com/office/drawing/2014/main" id="{576940A4-0CF1-46BA-9C48-774BB560FDCF}"/>
              </a:ext>
            </a:extLst>
          </p:cNvPr>
          <p:cNvSpPr/>
          <p:nvPr/>
        </p:nvSpPr>
        <p:spPr>
          <a:xfrm>
            <a:off x="1900255" y="4577252"/>
            <a:ext cx="1662239" cy="1255728"/>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rgbClr val="9F53ED"/>
                </a:solidFill>
              </a:rPr>
              <a:t>Standardize test process</a:t>
            </a:r>
          </a:p>
          <a:p>
            <a:pPr marL="171450" indent="-171450">
              <a:lnSpc>
                <a:spcPct val="90000"/>
              </a:lnSpc>
              <a:buFont typeface="Arial" panose="020B0604020202020204" pitchFamily="34" charset="0"/>
              <a:buChar char="•"/>
            </a:pPr>
            <a:r>
              <a:rPr lang="en-US" sz="1200" b="1" dirty="0">
                <a:solidFill>
                  <a:srgbClr val="9F53ED"/>
                </a:solidFill>
              </a:rPr>
              <a:t>Document Process</a:t>
            </a:r>
          </a:p>
          <a:p>
            <a:pPr marL="171450" indent="-171450">
              <a:lnSpc>
                <a:spcPct val="90000"/>
              </a:lnSpc>
              <a:buFont typeface="Arial" panose="020B0604020202020204" pitchFamily="34" charset="0"/>
              <a:buChar char="•"/>
            </a:pPr>
            <a:r>
              <a:rPr lang="en-US" sz="1200" b="1" dirty="0">
                <a:solidFill>
                  <a:srgbClr val="9F53ED"/>
                </a:solidFill>
              </a:rPr>
              <a:t>Build internally</a:t>
            </a:r>
          </a:p>
          <a:p>
            <a:pPr marL="171450" indent="-171450">
              <a:lnSpc>
                <a:spcPct val="90000"/>
              </a:lnSpc>
              <a:buFont typeface="Arial" panose="020B0604020202020204" pitchFamily="34" charset="0"/>
              <a:buChar char="•"/>
            </a:pPr>
            <a:r>
              <a:rPr lang="en-US" sz="1200" b="1" dirty="0">
                <a:solidFill>
                  <a:srgbClr val="9F53ED"/>
                </a:solidFill>
              </a:rPr>
              <a:t>Outsource automation</a:t>
            </a:r>
          </a:p>
          <a:p>
            <a:pPr marL="171450" indent="-171450">
              <a:lnSpc>
                <a:spcPct val="90000"/>
              </a:lnSpc>
              <a:buFont typeface="Arial" panose="020B0604020202020204" pitchFamily="34" charset="0"/>
              <a:buChar char="•"/>
            </a:pPr>
            <a:r>
              <a:rPr lang="en-US" sz="1200" b="1" dirty="0">
                <a:solidFill>
                  <a:srgbClr val="9F53ED"/>
                </a:solidFill>
              </a:rPr>
              <a:t>UI Automation</a:t>
            </a:r>
            <a:endParaRPr lang="id-ID" sz="1200" b="1" dirty="0">
              <a:solidFill>
                <a:srgbClr val="9F53ED"/>
              </a:solidFill>
            </a:endParaRPr>
          </a:p>
        </p:txBody>
      </p:sp>
      <p:sp>
        <p:nvSpPr>
          <p:cNvPr id="118" name="TextBox 117">
            <a:extLst>
              <a:ext uri="{FF2B5EF4-FFF2-40B4-BE49-F238E27FC236}">
                <a16:creationId xmlns:a16="http://schemas.microsoft.com/office/drawing/2014/main" id="{C7794342-9C22-4241-99A6-56E9CED9F7C3}"/>
              </a:ext>
            </a:extLst>
          </p:cNvPr>
          <p:cNvSpPr txBox="1"/>
          <p:nvPr/>
        </p:nvSpPr>
        <p:spPr>
          <a:xfrm>
            <a:off x="208677" y="6098659"/>
            <a:ext cx="1441618" cy="432792"/>
          </a:xfrm>
          <a:prstGeom prst="roundRect">
            <a:avLst>
              <a:gd name="adj" fmla="val 50000"/>
            </a:avLst>
          </a:prstGeom>
          <a:solidFill>
            <a:schemeClr val="accent3"/>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ools</a:t>
            </a:r>
          </a:p>
        </p:txBody>
      </p:sp>
      <p:sp>
        <p:nvSpPr>
          <p:cNvPr id="119" name="Rectangle 118">
            <a:extLst>
              <a:ext uri="{FF2B5EF4-FFF2-40B4-BE49-F238E27FC236}">
                <a16:creationId xmlns:a16="http://schemas.microsoft.com/office/drawing/2014/main" id="{1C51F5E3-FCBE-4E9E-BB20-8163E736B963}"/>
              </a:ext>
            </a:extLst>
          </p:cNvPr>
          <p:cNvSpPr/>
          <p:nvPr/>
        </p:nvSpPr>
        <p:spPr>
          <a:xfrm>
            <a:off x="1911840" y="6185789"/>
            <a:ext cx="1302790" cy="258532"/>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chemeClr val="accent3"/>
                </a:solidFill>
              </a:rPr>
              <a:t>Test Complete</a:t>
            </a:r>
            <a:endParaRPr lang="id-ID" sz="1200" b="1" dirty="0">
              <a:solidFill>
                <a:schemeClr val="accent3"/>
              </a:solidFill>
            </a:endParaRPr>
          </a:p>
        </p:txBody>
      </p:sp>
      <p:pic>
        <p:nvPicPr>
          <p:cNvPr id="52" name="Picture 51">
            <a:extLst>
              <a:ext uri="{FF2B5EF4-FFF2-40B4-BE49-F238E27FC236}">
                <a16:creationId xmlns:a16="http://schemas.microsoft.com/office/drawing/2014/main" id="{7B9D4ECA-83BA-EB42-A415-4E2ADD5D8FDB}"/>
              </a:ext>
            </a:extLst>
          </p:cNvPr>
          <p:cNvPicPr>
            <a:picLocks noChangeAspect="1"/>
          </p:cNvPicPr>
          <p:nvPr/>
        </p:nvPicPr>
        <p:blipFill>
          <a:blip r:embed="rId3"/>
          <a:srcRect t="31198" b="31198"/>
          <a:stretch/>
        </p:blipFill>
        <p:spPr>
          <a:xfrm>
            <a:off x="20" y="10"/>
            <a:ext cx="12191980" cy="253298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6" name="Straight Connector 15">
            <a:extLst>
              <a:ext uri="{FF2B5EF4-FFF2-40B4-BE49-F238E27FC236}">
                <a16:creationId xmlns:a16="http://schemas.microsoft.com/office/drawing/2014/main" id="{11738CF9-7D7F-BE43-8B65-6F6BD81134F2}"/>
              </a:ext>
            </a:extLst>
          </p:cNvPr>
          <p:cNvCxnSpPr>
            <a:cxnSpLocks/>
          </p:cNvCxnSpPr>
          <p:nvPr/>
        </p:nvCxnSpPr>
        <p:spPr>
          <a:xfrm>
            <a:off x="4491660"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97" name="Rectangle 96">
            <a:extLst>
              <a:ext uri="{FF2B5EF4-FFF2-40B4-BE49-F238E27FC236}">
                <a16:creationId xmlns:a16="http://schemas.microsoft.com/office/drawing/2014/main" id="{08B2B614-C8B4-4FAF-92D2-9A21E1CC16EB}"/>
              </a:ext>
            </a:extLst>
          </p:cNvPr>
          <p:cNvSpPr/>
          <p:nvPr/>
        </p:nvSpPr>
        <p:spPr>
          <a:xfrm>
            <a:off x="1913481" y="3502268"/>
            <a:ext cx="1593444" cy="424732"/>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chemeClr val="accent1"/>
                </a:solidFill>
              </a:rPr>
              <a:t>Mission Statement</a:t>
            </a:r>
          </a:p>
          <a:p>
            <a:pPr marL="171450" indent="-171450">
              <a:lnSpc>
                <a:spcPct val="90000"/>
              </a:lnSpc>
              <a:buFont typeface="Arial" panose="020B0604020202020204" pitchFamily="34" charset="0"/>
              <a:buChar char="•"/>
            </a:pPr>
            <a:r>
              <a:rPr lang="en-US" sz="1200" b="1" dirty="0">
                <a:solidFill>
                  <a:schemeClr val="accent1"/>
                </a:solidFill>
              </a:rPr>
              <a:t>Embed QA</a:t>
            </a:r>
          </a:p>
        </p:txBody>
      </p:sp>
      <p:sp>
        <p:nvSpPr>
          <p:cNvPr id="56" name="Rectangle 55">
            <a:extLst>
              <a:ext uri="{FF2B5EF4-FFF2-40B4-BE49-F238E27FC236}">
                <a16:creationId xmlns:a16="http://schemas.microsoft.com/office/drawing/2014/main" id="{898527AF-DC86-524F-8C2F-289B645E821C}"/>
              </a:ext>
            </a:extLst>
          </p:cNvPr>
          <p:cNvSpPr/>
          <p:nvPr/>
        </p:nvSpPr>
        <p:spPr>
          <a:xfrm>
            <a:off x="5648580"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83E774EC-52E9-5B4A-A4E0-9D68BFAE8CB9}"/>
              </a:ext>
            </a:extLst>
          </p:cNvPr>
          <p:cNvCxnSpPr>
            <a:cxnSpLocks/>
          </p:cNvCxnSpPr>
          <p:nvPr/>
        </p:nvCxnSpPr>
        <p:spPr>
          <a:xfrm>
            <a:off x="6493231"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8" name="Rectangle 57">
            <a:extLst>
              <a:ext uri="{FF2B5EF4-FFF2-40B4-BE49-F238E27FC236}">
                <a16:creationId xmlns:a16="http://schemas.microsoft.com/office/drawing/2014/main" id="{FAEB72B3-D760-DB4E-B89A-F5177ADF4797}"/>
              </a:ext>
            </a:extLst>
          </p:cNvPr>
          <p:cNvSpPr/>
          <p:nvPr/>
        </p:nvSpPr>
        <p:spPr>
          <a:xfrm>
            <a:off x="7595406"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Connector 58">
            <a:extLst>
              <a:ext uri="{FF2B5EF4-FFF2-40B4-BE49-F238E27FC236}">
                <a16:creationId xmlns:a16="http://schemas.microsoft.com/office/drawing/2014/main" id="{94EE696C-0CE8-3D41-9892-FEEE6E65ED46}"/>
              </a:ext>
            </a:extLst>
          </p:cNvPr>
          <p:cNvCxnSpPr>
            <a:cxnSpLocks/>
          </p:cNvCxnSpPr>
          <p:nvPr/>
        </p:nvCxnSpPr>
        <p:spPr>
          <a:xfrm>
            <a:off x="8440057"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Rounded Corners 74">
            <a:extLst>
              <a:ext uri="{FF2B5EF4-FFF2-40B4-BE49-F238E27FC236}">
                <a16:creationId xmlns:a16="http://schemas.microsoft.com/office/drawing/2014/main" id="{C555A392-E2F5-F647-A613-691839CB1CC4}"/>
              </a:ext>
            </a:extLst>
          </p:cNvPr>
          <p:cNvSpPr/>
          <p:nvPr/>
        </p:nvSpPr>
        <p:spPr>
          <a:xfrm>
            <a:off x="9596975"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1</a:t>
            </a:r>
          </a:p>
        </p:txBody>
      </p:sp>
      <p:sp>
        <p:nvSpPr>
          <p:cNvPr id="63" name="Rectangle 62">
            <a:extLst>
              <a:ext uri="{FF2B5EF4-FFF2-40B4-BE49-F238E27FC236}">
                <a16:creationId xmlns:a16="http://schemas.microsoft.com/office/drawing/2014/main" id="{A3E71FC9-E258-0248-A3BC-D8CD588C1678}"/>
              </a:ext>
            </a:extLst>
          </p:cNvPr>
          <p:cNvSpPr/>
          <p:nvPr/>
        </p:nvSpPr>
        <p:spPr>
          <a:xfrm>
            <a:off x="9542232"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a:extLst>
              <a:ext uri="{FF2B5EF4-FFF2-40B4-BE49-F238E27FC236}">
                <a16:creationId xmlns:a16="http://schemas.microsoft.com/office/drawing/2014/main" id="{6D6C98DD-44EC-7F4D-BEA2-DFAA1FBE8698}"/>
              </a:ext>
            </a:extLst>
          </p:cNvPr>
          <p:cNvCxnSpPr>
            <a:cxnSpLocks/>
          </p:cNvCxnSpPr>
          <p:nvPr/>
        </p:nvCxnSpPr>
        <p:spPr>
          <a:xfrm>
            <a:off x="10398534" y="3244276"/>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 name="Group 1">
            <a:extLst>
              <a:ext uri="{FF2B5EF4-FFF2-40B4-BE49-F238E27FC236}">
                <a16:creationId xmlns:a16="http://schemas.microsoft.com/office/drawing/2014/main" id="{2B35CCF4-E7BB-D04F-99E3-003A7B83E6BA}"/>
              </a:ext>
            </a:extLst>
          </p:cNvPr>
          <p:cNvGrpSpPr/>
          <p:nvPr/>
        </p:nvGrpSpPr>
        <p:grpSpPr>
          <a:xfrm>
            <a:off x="1809671" y="2330083"/>
            <a:ext cx="1735582" cy="432792"/>
            <a:chOff x="1809671" y="2330083"/>
            <a:chExt cx="1735582" cy="432792"/>
          </a:xfrm>
        </p:grpSpPr>
        <p:pic>
          <p:nvPicPr>
            <p:cNvPr id="23" name="Graphic 22" descr="Building Brick Wall with solid fill">
              <a:extLst>
                <a:ext uri="{FF2B5EF4-FFF2-40B4-BE49-F238E27FC236}">
                  <a16:creationId xmlns:a16="http://schemas.microsoft.com/office/drawing/2014/main" id="{9406FF8D-0C77-134D-B4FE-BF3BC4CC87E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09671" y="2330083"/>
              <a:ext cx="432792" cy="432792"/>
            </a:xfrm>
            <a:prstGeom prst="rect">
              <a:avLst/>
            </a:prstGeom>
          </p:spPr>
        </p:pic>
        <p:sp>
          <p:nvSpPr>
            <p:cNvPr id="24" name="Rectangle 23">
              <a:extLst>
                <a:ext uri="{FF2B5EF4-FFF2-40B4-BE49-F238E27FC236}">
                  <a16:creationId xmlns:a16="http://schemas.microsoft.com/office/drawing/2014/main" id="{5F800BE2-93D5-A046-86C7-1B12C75264C1}"/>
                </a:ext>
              </a:extLst>
            </p:cNvPr>
            <p:cNvSpPr/>
            <p:nvPr/>
          </p:nvSpPr>
          <p:spPr>
            <a:xfrm>
              <a:off x="2242463" y="2476938"/>
              <a:ext cx="1302790" cy="258532"/>
            </a:xfrm>
            <a:prstGeom prst="rect">
              <a:avLst/>
            </a:prstGeom>
          </p:spPr>
          <p:txBody>
            <a:bodyPr wrap="square">
              <a:spAutoFit/>
            </a:bodyPr>
            <a:lstStyle/>
            <a:p>
              <a:pPr>
                <a:lnSpc>
                  <a:spcPct val="90000"/>
                </a:lnSpc>
              </a:pPr>
              <a:r>
                <a:rPr lang="en-US" sz="1200" b="1" dirty="0">
                  <a:solidFill>
                    <a:srgbClr val="FF0000"/>
                  </a:solidFill>
                </a:rPr>
                <a:t>Build Foundation</a:t>
              </a:r>
              <a:endParaRPr lang="id-ID" sz="1200" b="1" dirty="0">
                <a:solidFill>
                  <a:srgbClr val="FF0000"/>
                </a:solidFill>
              </a:endParaRPr>
            </a:p>
          </p:txBody>
        </p:sp>
      </p:grpSp>
    </p:spTree>
    <p:extLst>
      <p:ext uri="{BB962C8B-B14F-4D97-AF65-F5344CB8AC3E}">
        <p14:creationId xmlns:p14="http://schemas.microsoft.com/office/powerpoint/2010/main" val="19788424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wind"/>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9">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Rounded Corners 59">
            <a:extLst>
              <a:ext uri="{FF2B5EF4-FFF2-40B4-BE49-F238E27FC236}">
                <a16:creationId xmlns:a16="http://schemas.microsoft.com/office/drawing/2014/main" id="{92549790-D2F8-47B0-9AC1-D3E3FFFE316F}"/>
              </a:ext>
            </a:extLst>
          </p:cNvPr>
          <p:cNvSpPr/>
          <p:nvPr/>
        </p:nvSpPr>
        <p:spPr>
          <a:xfrm>
            <a:off x="1809671" y="2776259"/>
            <a:ext cx="1593445" cy="406986"/>
          </a:xfrm>
          <a:prstGeom prst="roundRect">
            <a:avLst>
              <a:gd name="adj" fmla="val 50000"/>
            </a:avLst>
          </a:prstGeom>
          <a:solidFill>
            <a:schemeClr val="tx1"/>
          </a:solidFill>
          <a:ln>
            <a:solidFill>
              <a:schemeClr val="tx1"/>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2017</a:t>
            </a:r>
          </a:p>
        </p:txBody>
      </p:sp>
      <p:sp>
        <p:nvSpPr>
          <p:cNvPr id="69" name="Rectangle: Rounded Corners 68">
            <a:extLst>
              <a:ext uri="{FF2B5EF4-FFF2-40B4-BE49-F238E27FC236}">
                <a16:creationId xmlns:a16="http://schemas.microsoft.com/office/drawing/2014/main" id="{F3731C01-A51D-4DB8-A447-F4E884B0EBFA}"/>
              </a:ext>
            </a:extLst>
          </p:cNvPr>
          <p:cNvSpPr/>
          <p:nvPr/>
        </p:nvSpPr>
        <p:spPr>
          <a:xfrm>
            <a:off x="3701754" y="2769545"/>
            <a:ext cx="1593445" cy="406986"/>
          </a:xfrm>
          <a:prstGeom prst="roundRect">
            <a:avLst>
              <a:gd name="adj" fmla="val 50000"/>
            </a:avLst>
          </a:prstGeom>
          <a:solidFill>
            <a:schemeClr val="accent2"/>
          </a:solidFill>
          <a:ln>
            <a:solidFill>
              <a:schemeClr val="accent2"/>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8</a:t>
            </a:r>
          </a:p>
        </p:txBody>
      </p:sp>
      <p:sp>
        <p:nvSpPr>
          <p:cNvPr id="72" name="Rectangle: Rounded Corners 71">
            <a:extLst>
              <a:ext uri="{FF2B5EF4-FFF2-40B4-BE49-F238E27FC236}">
                <a16:creationId xmlns:a16="http://schemas.microsoft.com/office/drawing/2014/main" id="{B283A46F-53C3-4FA3-890B-FACC79BF8F88}"/>
              </a:ext>
            </a:extLst>
          </p:cNvPr>
          <p:cNvSpPr/>
          <p:nvPr/>
        </p:nvSpPr>
        <p:spPr>
          <a:xfrm>
            <a:off x="5696508"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9</a:t>
            </a:r>
          </a:p>
        </p:txBody>
      </p:sp>
      <p:sp>
        <p:nvSpPr>
          <p:cNvPr id="75" name="Rectangle: Rounded Corners 74">
            <a:extLst>
              <a:ext uri="{FF2B5EF4-FFF2-40B4-BE49-F238E27FC236}">
                <a16:creationId xmlns:a16="http://schemas.microsoft.com/office/drawing/2014/main" id="{FA73C4D0-DDD8-4727-8282-8CF8773EBF11}"/>
              </a:ext>
            </a:extLst>
          </p:cNvPr>
          <p:cNvSpPr/>
          <p:nvPr/>
        </p:nvSpPr>
        <p:spPr>
          <a:xfrm>
            <a:off x="7643334"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0</a:t>
            </a:r>
          </a:p>
        </p:txBody>
      </p:sp>
      <p:sp>
        <p:nvSpPr>
          <p:cNvPr id="81" name="TextBox 80">
            <a:extLst>
              <a:ext uri="{FF2B5EF4-FFF2-40B4-BE49-F238E27FC236}">
                <a16:creationId xmlns:a16="http://schemas.microsoft.com/office/drawing/2014/main" id="{5C23DCAC-30B5-4B84-A2C8-3FEC1A416002}"/>
              </a:ext>
            </a:extLst>
          </p:cNvPr>
          <p:cNvSpPr txBox="1"/>
          <p:nvPr/>
        </p:nvSpPr>
        <p:spPr>
          <a:xfrm>
            <a:off x="208677" y="3457630"/>
            <a:ext cx="1441618" cy="432792"/>
          </a:xfrm>
          <a:prstGeom prst="roundRect">
            <a:avLst>
              <a:gd name="adj" fmla="val 50000"/>
            </a:avLst>
          </a:prstGeom>
          <a:solidFill>
            <a:schemeClr val="accent1"/>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People</a:t>
            </a:r>
          </a:p>
        </p:txBody>
      </p:sp>
      <p:sp>
        <p:nvSpPr>
          <p:cNvPr id="112" name="TextBox 111">
            <a:extLst>
              <a:ext uri="{FF2B5EF4-FFF2-40B4-BE49-F238E27FC236}">
                <a16:creationId xmlns:a16="http://schemas.microsoft.com/office/drawing/2014/main" id="{14A3DD07-8027-4B98-B1FA-3F5F60D64BBB}"/>
              </a:ext>
            </a:extLst>
          </p:cNvPr>
          <p:cNvSpPr txBox="1"/>
          <p:nvPr/>
        </p:nvSpPr>
        <p:spPr>
          <a:xfrm>
            <a:off x="208677" y="4738610"/>
            <a:ext cx="1441618" cy="432792"/>
          </a:xfrm>
          <a:prstGeom prst="roundRect">
            <a:avLst>
              <a:gd name="adj" fmla="val 50000"/>
            </a:avLst>
          </a:prstGeom>
          <a:solidFill>
            <a:srgbClr val="9F53ED"/>
          </a:solidFill>
          <a:ln>
            <a:solidFill>
              <a:srgbClr val="9F53ED"/>
            </a:solidFill>
          </a:ln>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est Approach</a:t>
            </a:r>
          </a:p>
        </p:txBody>
      </p:sp>
      <p:sp>
        <p:nvSpPr>
          <p:cNvPr id="118" name="TextBox 117">
            <a:extLst>
              <a:ext uri="{FF2B5EF4-FFF2-40B4-BE49-F238E27FC236}">
                <a16:creationId xmlns:a16="http://schemas.microsoft.com/office/drawing/2014/main" id="{C7794342-9C22-4241-99A6-56E9CED9F7C3}"/>
              </a:ext>
            </a:extLst>
          </p:cNvPr>
          <p:cNvSpPr txBox="1"/>
          <p:nvPr/>
        </p:nvSpPr>
        <p:spPr>
          <a:xfrm>
            <a:off x="208677" y="6098659"/>
            <a:ext cx="1441618" cy="432792"/>
          </a:xfrm>
          <a:prstGeom prst="roundRect">
            <a:avLst>
              <a:gd name="adj" fmla="val 50000"/>
            </a:avLst>
          </a:prstGeom>
          <a:solidFill>
            <a:schemeClr val="accent3"/>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ools</a:t>
            </a:r>
          </a:p>
        </p:txBody>
      </p:sp>
      <p:pic>
        <p:nvPicPr>
          <p:cNvPr id="52" name="Picture 51">
            <a:extLst>
              <a:ext uri="{FF2B5EF4-FFF2-40B4-BE49-F238E27FC236}">
                <a16:creationId xmlns:a16="http://schemas.microsoft.com/office/drawing/2014/main" id="{7B9D4ECA-83BA-EB42-A415-4E2ADD5D8FDB}"/>
              </a:ext>
            </a:extLst>
          </p:cNvPr>
          <p:cNvPicPr>
            <a:picLocks noChangeAspect="1"/>
          </p:cNvPicPr>
          <p:nvPr/>
        </p:nvPicPr>
        <p:blipFill>
          <a:blip r:embed="rId3"/>
          <a:srcRect t="31198" b="31198"/>
          <a:stretch/>
        </p:blipFill>
        <p:spPr>
          <a:xfrm>
            <a:off x="20" y="10"/>
            <a:ext cx="12191980" cy="253298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56" name="Rectangle 55">
            <a:extLst>
              <a:ext uri="{FF2B5EF4-FFF2-40B4-BE49-F238E27FC236}">
                <a16:creationId xmlns:a16="http://schemas.microsoft.com/office/drawing/2014/main" id="{898527AF-DC86-524F-8C2F-289B645E821C}"/>
              </a:ext>
            </a:extLst>
          </p:cNvPr>
          <p:cNvSpPr/>
          <p:nvPr/>
        </p:nvSpPr>
        <p:spPr>
          <a:xfrm>
            <a:off x="5648580"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83E774EC-52E9-5B4A-A4E0-9D68BFAE8CB9}"/>
              </a:ext>
            </a:extLst>
          </p:cNvPr>
          <p:cNvCxnSpPr>
            <a:cxnSpLocks/>
          </p:cNvCxnSpPr>
          <p:nvPr/>
        </p:nvCxnSpPr>
        <p:spPr>
          <a:xfrm>
            <a:off x="6493231"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8" name="Rectangle 57">
            <a:extLst>
              <a:ext uri="{FF2B5EF4-FFF2-40B4-BE49-F238E27FC236}">
                <a16:creationId xmlns:a16="http://schemas.microsoft.com/office/drawing/2014/main" id="{FAEB72B3-D760-DB4E-B89A-F5177ADF4797}"/>
              </a:ext>
            </a:extLst>
          </p:cNvPr>
          <p:cNvSpPr/>
          <p:nvPr/>
        </p:nvSpPr>
        <p:spPr>
          <a:xfrm>
            <a:off x="7595406"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Connector 58">
            <a:extLst>
              <a:ext uri="{FF2B5EF4-FFF2-40B4-BE49-F238E27FC236}">
                <a16:creationId xmlns:a16="http://schemas.microsoft.com/office/drawing/2014/main" id="{94EE696C-0CE8-3D41-9892-FEEE6E65ED46}"/>
              </a:ext>
            </a:extLst>
          </p:cNvPr>
          <p:cNvCxnSpPr>
            <a:cxnSpLocks/>
          </p:cNvCxnSpPr>
          <p:nvPr/>
        </p:nvCxnSpPr>
        <p:spPr>
          <a:xfrm>
            <a:off x="8440057"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Rounded Corners 74">
            <a:extLst>
              <a:ext uri="{FF2B5EF4-FFF2-40B4-BE49-F238E27FC236}">
                <a16:creationId xmlns:a16="http://schemas.microsoft.com/office/drawing/2014/main" id="{C555A392-E2F5-F647-A613-691839CB1CC4}"/>
              </a:ext>
            </a:extLst>
          </p:cNvPr>
          <p:cNvSpPr/>
          <p:nvPr/>
        </p:nvSpPr>
        <p:spPr>
          <a:xfrm>
            <a:off x="9596975"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1</a:t>
            </a:r>
          </a:p>
        </p:txBody>
      </p:sp>
      <p:sp>
        <p:nvSpPr>
          <p:cNvPr id="63" name="Rectangle 62">
            <a:extLst>
              <a:ext uri="{FF2B5EF4-FFF2-40B4-BE49-F238E27FC236}">
                <a16:creationId xmlns:a16="http://schemas.microsoft.com/office/drawing/2014/main" id="{A3E71FC9-E258-0248-A3BC-D8CD588C1678}"/>
              </a:ext>
            </a:extLst>
          </p:cNvPr>
          <p:cNvSpPr/>
          <p:nvPr/>
        </p:nvSpPr>
        <p:spPr>
          <a:xfrm>
            <a:off x="9542232"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a:extLst>
              <a:ext uri="{FF2B5EF4-FFF2-40B4-BE49-F238E27FC236}">
                <a16:creationId xmlns:a16="http://schemas.microsoft.com/office/drawing/2014/main" id="{6D6C98DD-44EC-7F4D-BEA2-DFAA1FBE8698}"/>
              </a:ext>
            </a:extLst>
          </p:cNvPr>
          <p:cNvCxnSpPr>
            <a:cxnSpLocks/>
          </p:cNvCxnSpPr>
          <p:nvPr/>
        </p:nvCxnSpPr>
        <p:spPr>
          <a:xfrm>
            <a:off x="10398534" y="3244276"/>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Rectangle 24">
            <a:extLst>
              <a:ext uri="{FF2B5EF4-FFF2-40B4-BE49-F238E27FC236}">
                <a16:creationId xmlns:a16="http://schemas.microsoft.com/office/drawing/2014/main" id="{6CE7F285-D5A0-8D4D-8880-7A715189E49D}"/>
              </a:ext>
            </a:extLst>
          </p:cNvPr>
          <p:cNvSpPr/>
          <p:nvPr/>
        </p:nvSpPr>
        <p:spPr>
          <a:xfrm>
            <a:off x="1733520" y="3244276"/>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44A11452-6309-DC4E-AA50-B9357CCE81DD}"/>
              </a:ext>
            </a:extLst>
          </p:cNvPr>
          <p:cNvCxnSpPr>
            <a:cxnSpLocks/>
          </p:cNvCxnSpPr>
          <p:nvPr/>
        </p:nvCxnSpPr>
        <p:spPr>
          <a:xfrm>
            <a:off x="2578171" y="3244276"/>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1" name="Rectangle 20">
            <a:extLst>
              <a:ext uri="{FF2B5EF4-FFF2-40B4-BE49-F238E27FC236}">
                <a16:creationId xmlns:a16="http://schemas.microsoft.com/office/drawing/2014/main" id="{19312CC0-4C93-084B-9260-DA301E8C450C}"/>
              </a:ext>
            </a:extLst>
          </p:cNvPr>
          <p:cNvSpPr/>
          <p:nvPr/>
        </p:nvSpPr>
        <p:spPr>
          <a:xfrm>
            <a:off x="3744773" y="3413083"/>
            <a:ext cx="1655360" cy="757130"/>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chemeClr val="accent1"/>
                </a:solidFill>
              </a:rPr>
              <a:t>Hired 7 contractors with automation skillsets</a:t>
            </a:r>
          </a:p>
          <a:p>
            <a:pPr marL="171450" indent="-171450">
              <a:lnSpc>
                <a:spcPct val="90000"/>
              </a:lnSpc>
              <a:buFont typeface="Arial" panose="020B0604020202020204" pitchFamily="34" charset="0"/>
              <a:buChar char="•"/>
            </a:pPr>
            <a:r>
              <a:rPr lang="en-US" sz="1200" b="1" dirty="0">
                <a:solidFill>
                  <a:schemeClr val="accent1"/>
                </a:solidFill>
              </a:rPr>
              <a:t>Training</a:t>
            </a:r>
          </a:p>
        </p:txBody>
      </p:sp>
      <p:sp>
        <p:nvSpPr>
          <p:cNvPr id="22" name="Rectangle 21">
            <a:extLst>
              <a:ext uri="{FF2B5EF4-FFF2-40B4-BE49-F238E27FC236}">
                <a16:creationId xmlns:a16="http://schemas.microsoft.com/office/drawing/2014/main" id="{B864F0CC-4F00-5A46-8D74-C7450BA58CF9}"/>
              </a:ext>
            </a:extLst>
          </p:cNvPr>
          <p:cNvSpPr/>
          <p:nvPr/>
        </p:nvSpPr>
        <p:spPr>
          <a:xfrm>
            <a:off x="3751944" y="4447336"/>
            <a:ext cx="1662239" cy="1421928"/>
          </a:xfrm>
          <a:prstGeom prst="rect">
            <a:avLst/>
          </a:prstGeom>
        </p:spPr>
        <p:txBody>
          <a:bodyPr wrap="square">
            <a:spAutoFit/>
          </a:bodyPr>
          <a:lstStyle/>
          <a:p>
            <a:pPr marL="171450" indent="-171450">
              <a:lnSpc>
                <a:spcPct val="90000"/>
              </a:lnSpc>
              <a:buFont typeface="Arial" panose="020B0604020202020204" pitchFamily="34" charset="0"/>
              <a:buChar char="•"/>
            </a:pPr>
            <a:endParaRPr lang="en-US" sz="1200" b="1" dirty="0">
              <a:solidFill>
                <a:srgbClr val="9F53ED"/>
              </a:solidFill>
            </a:endParaRPr>
          </a:p>
          <a:p>
            <a:pPr marL="171450" indent="-171450">
              <a:lnSpc>
                <a:spcPct val="90000"/>
              </a:lnSpc>
              <a:buFont typeface="Arial" panose="020B0604020202020204" pitchFamily="34" charset="0"/>
              <a:buChar char="•"/>
            </a:pPr>
            <a:r>
              <a:rPr lang="en-US" sz="1200" b="1" dirty="0">
                <a:solidFill>
                  <a:srgbClr val="9F53ED"/>
                </a:solidFill>
              </a:rPr>
              <a:t>Started with green product</a:t>
            </a:r>
          </a:p>
          <a:p>
            <a:pPr marL="171450" indent="-171450">
              <a:lnSpc>
                <a:spcPct val="90000"/>
              </a:lnSpc>
              <a:buFont typeface="Arial" panose="020B0604020202020204" pitchFamily="34" charset="0"/>
              <a:buChar char="•"/>
            </a:pPr>
            <a:r>
              <a:rPr lang="en-US" sz="1200" b="1" dirty="0">
                <a:solidFill>
                  <a:srgbClr val="9F53ED"/>
                </a:solidFill>
              </a:rPr>
              <a:t>API Automation</a:t>
            </a:r>
          </a:p>
          <a:p>
            <a:pPr marL="171450" indent="-171450">
              <a:lnSpc>
                <a:spcPct val="90000"/>
              </a:lnSpc>
              <a:buFont typeface="Arial" panose="020B0604020202020204" pitchFamily="34" charset="0"/>
              <a:buChar char="•"/>
            </a:pPr>
            <a:r>
              <a:rPr lang="en-US" sz="1200" b="1" dirty="0">
                <a:solidFill>
                  <a:srgbClr val="9F53ED"/>
                </a:solidFill>
              </a:rPr>
              <a:t>Integrate into dev release pipeline</a:t>
            </a:r>
          </a:p>
          <a:p>
            <a:pPr marL="171450" indent="-171450">
              <a:lnSpc>
                <a:spcPct val="90000"/>
              </a:lnSpc>
              <a:buFont typeface="Arial" panose="020B0604020202020204" pitchFamily="34" charset="0"/>
              <a:buChar char="•"/>
            </a:pPr>
            <a:r>
              <a:rPr lang="en-US" sz="1200" b="1" dirty="0">
                <a:solidFill>
                  <a:srgbClr val="9F53ED"/>
                </a:solidFill>
              </a:rPr>
              <a:t>Link scripts back to test cases</a:t>
            </a:r>
          </a:p>
        </p:txBody>
      </p:sp>
      <p:sp>
        <p:nvSpPr>
          <p:cNvPr id="23" name="Rectangle 22">
            <a:extLst>
              <a:ext uri="{FF2B5EF4-FFF2-40B4-BE49-F238E27FC236}">
                <a16:creationId xmlns:a16="http://schemas.microsoft.com/office/drawing/2014/main" id="{E5995FBA-DCC0-5C4F-B0B6-82BA37E6E7E3}"/>
              </a:ext>
            </a:extLst>
          </p:cNvPr>
          <p:cNvSpPr/>
          <p:nvPr/>
        </p:nvSpPr>
        <p:spPr>
          <a:xfrm>
            <a:off x="3758758" y="6143002"/>
            <a:ext cx="1593443" cy="424732"/>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chemeClr val="accent3"/>
                </a:solidFill>
              </a:rPr>
              <a:t>Postman - JS</a:t>
            </a:r>
          </a:p>
          <a:p>
            <a:pPr marL="171450" indent="-171450">
              <a:lnSpc>
                <a:spcPct val="90000"/>
              </a:lnSpc>
              <a:buFont typeface="Arial" panose="020B0604020202020204" pitchFamily="34" charset="0"/>
              <a:buChar char="•"/>
            </a:pPr>
            <a:r>
              <a:rPr lang="en-US" sz="1200" b="1" dirty="0">
                <a:solidFill>
                  <a:schemeClr val="accent3"/>
                </a:solidFill>
              </a:rPr>
              <a:t>MSVS C# </a:t>
            </a:r>
            <a:r>
              <a:rPr lang="en-US" sz="1200" b="1" dirty="0" err="1">
                <a:solidFill>
                  <a:schemeClr val="accent3"/>
                </a:solidFill>
              </a:rPr>
              <a:t>.Net</a:t>
            </a:r>
            <a:endParaRPr lang="en-US" sz="1200" b="1" dirty="0">
              <a:solidFill>
                <a:schemeClr val="accent3"/>
              </a:solidFill>
            </a:endParaRPr>
          </a:p>
        </p:txBody>
      </p:sp>
      <p:grpSp>
        <p:nvGrpSpPr>
          <p:cNvPr id="2" name="Group 1">
            <a:extLst>
              <a:ext uri="{FF2B5EF4-FFF2-40B4-BE49-F238E27FC236}">
                <a16:creationId xmlns:a16="http://schemas.microsoft.com/office/drawing/2014/main" id="{C221353C-D918-3749-841C-9222824358D7}"/>
              </a:ext>
            </a:extLst>
          </p:cNvPr>
          <p:cNvGrpSpPr/>
          <p:nvPr/>
        </p:nvGrpSpPr>
        <p:grpSpPr>
          <a:xfrm>
            <a:off x="3678653" y="2402981"/>
            <a:ext cx="1913086" cy="316652"/>
            <a:chOff x="3678653" y="2402981"/>
            <a:chExt cx="1913086" cy="316652"/>
          </a:xfrm>
        </p:grpSpPr>
        <p:sp>
          <p:nvSpPr>
            <p:cNvPr id="24" name="Freeform 30">
              <a:extLst>
                <a:ext uri="{FF2B5EF4-FFF2-40B4-BE49-F238E27FC236}">
                  <a16:creationId xmlns:a16="http://schemas.microsoft.com/office/drawing/2014/main" id="{41428E75-7AAE-3D43-A0EB-494064A0CA04}"/>
                </a:ext>
              </a:extLst>
            </p:cNvPr>
            <p:cNvSpPr>
              <a:spLocks noChangeArrowheads="1"/>
            </p:cNvSpPr>
            <p:nvPr/>
          </p:nvSpPr>
          <p:spPr bwMode="auto">
            <a:xfrm>
              <a:off x="3678653" y="2402981"/>
              <a:ext cx="319642" cy="316652"/>
            </a:xfrm>
            <a:custGeom>
              <a:avLst/>
              <a:gdLst>
                <a:gd name="T0" fmla="*/ 59356 w 498"/>
                <a:gd name="T1" fmla="*/ 210688 h 470"/>
                <a:gd name="T2" fmla="*/ 59356 w 498"/>
                <a:gd name="T3" fmla="*/ 210688 h 470"/>
                <a:gd name="T4" fmla="*/ 83009 w 498"/>
                <a:gd name="T5" fmla="*/ 210688 h 470"/>
                <a:gd name="T6" fmla="*/ 130762 w 498"/>
                <a:gd name="T7" fmla="*/ 119045 h 470"/>
                <a:gd name="T8" fmla="*/ 190117 w 498"/>
                <a:gd name="T9" fmla="*/ 119045 h 470"/>
                <a:gd name="T10" fmla="*/ 221804 w 498"/>
                <a:gd name="T11" fmla="*/ 103322 h 470"/>
                <a:gd name="T12" fmla="*/ 190117 w 498"/>
                <a:gd name="T13" fmla="*/ 87599 h 470"/>
                <a:gd name="T14" fmla="*/ 130762 w 498"/>
                <a:gd name="T15" fmla="*/ 87599 h 470"/>
                <a:gd name="T16" fmla="*/ 83009 w 498"/>
                <a:gd name="T17" fmla="*/ 0 h 470"/>
                <a:gd name="T18" fmla="*/ 59356 w 498"/>
                <a:gd name="T19" fmla="*/ 0 h 470"/>
                <a:gd name="T20" fmla="*/ 87026 w 498"/>
                <a:gd name="T21" fmla="*/ 87599 h 470"/>
                <a:gd name="T22" fmla="*/ 47753 w 498"/>
                <a:gd name="T23" fmla="*/ 87599 h 470"/>
                <a:gd name="T24" fmla="*/ 23653 w 498"/>
                <a:gd name="T25" fmla="*/ 67384 h 470"/>
                <a:gd name="T26" fmla="*/ 0 w 498"/>
                <a:gd name="T27" fmla="*/ 67384 h 470"/>
                <a:gd name="T28" fmla="*/ 16066 w 498"/>
                <a:gd name="T29" fmla="*/ 103322 h 470"/>
                <a:gd name="T30" fmla="*/ 0 w 498"/>
                <a:gd name="T31" fmla="*/ 143304 h 470"/>
                <a:gd name="T32" fmla="*/ 23653 w 498"/>
                <a:gd name="T33" fmla="*/ 143304 h 470"/>
                <a:gd name="T34" fmla="*/ 47753 w 498"/>
                <a:gd name="T35" fmla="*/ 119045 h 470"/>
                <a:gd name="T36" fmla="*/ 87026 w 498"/>
                <a:gd name="T37" fmla="*/ 119045 h 470"/>
                <a:gd name="T38" fmla="*/ 59356 w 498"/>
                <a:gd name="T39" fmla="*/ 210688 h 4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98" h="470">
                  <a:moveTo>
                    <a:pt x="133" y="469"/>
                  </a:moveTo>
                  <a:lnTo>
                    <a:pt x="133" y="469"/>
                  </a:lnTo>
                  <a:cubicBezTo>
                    <a:pt x="186" y="469"/>
                    <a:pt x="186" y="469"/>
                    <a:pt x="186" y="469"/>
                  </a:cubicBezTo>
                  <a:cubicBezTo>
                    <a:pt x="293" y="265"/>
                    <a:pt x="293" y="265"/>
                    <a:pt x="293" y="265"/>
                  </a:cubicBezTo>
                  <a:cubicBezTo>
                    <a:pt x="426" y="265"/>
                    <a:pt x="426" y="265"/>
                    <a:pt x="426" y="265"/>
                  </a:cubicBezTo>
                  <a:cubicBezTo>
                    <a:pt x="426" y="265"/>
                    <a:pt x="497" y="265"/>
                    <a:pt x="497" y="230"/>
                  </a:cubicBezTo>
                  <a:cubicBezTo>
                    <a:pt x="497" y="195"/>
                    <a:pt x="426" y="195"/>
                    <a:pt x="426" y="195"/>
                  </a:cubicBezTo>
                  <a:cubicBezTo>
                    <a:pt x="293" y="195"/>
                    <a:pt x="293" y="195"/>
                    <a:pt x="293" y="195"/>
                  </a:cubicBezTo>
                  <a:cubicBezTo>
                    <a:pt x="186" y="0"/>
                    <a:pt x="186" y="0"/>
                    <a:pt x="186" y="0"/>
                  </a:cubicBezTo>
                  <a:cubicBezTo>
                    <a:pt x="133" y="0"/>
                    <a:pt x="133" y="0"/>
                    <a:pt x="133" y="0"/>
                  </a:cubicBezTo>
                  <a:cubicBezTo>
                    <a:pt x="195" y="195"/>
                    <a:pt x="195" y="195"/>
                    <a:pt x="195" y="195"/>
                  </a:cubicBezTo>
                  <a:cubicBezTo>
                    <a:pt x="107" y="195"/>
                    <a:pt x="107" y="195"/>
                    <a:pt x="107" y="195"/>
                  </a:cubicBezTo>
                  <a:cubicBezTo>
                    <a:pt x="53" y="150"/>
                    <a:pt x="53" y="150"/>
                    <a:pt x="53" y="150"/>
                  </a:cubicBezTo>
                  <a:cubicBezTo>
                    <a:pt x="0" y="150"/>
                    <a:pt x="0" y="150"/>
                    <a:pt x="0" y="150"/>
                  </a:cubicBezTo>
                  <a:cubicBezTo>
                    <a:pt x="36" y="230"/>
                    <a:pt x="36" y="230"/>
                    <a:pt x="36" y="230"/>
                  </a:cubicBezTo>
                  <a:cubicBezTo>
                    <a:pt x="0" y="319"/>
                    <a:pt x="0" y="319"/>
                    <a:pt x="0" y="319"/>
                  </a:cubicBezTo>
                  <a:cubicBezTo>
                    <a:pt x="53" y="319"/>
                    <a:pt x="53" y="319"/>
                    <a:pt x="53" y="319"/>
                  </a:cubicBezTo>
                  <a:cubicBezTo>
                    <a:pt x="107" y="265"/>
                    <a:pt x="107" y="265"/>
                    <a:pt x="107" y="265"/>
                  </a:cubicBezTo>
                  <a:cubicBezTo>
                    <a:pt x="195" y="265"/>
                    <a:pt x="195" y="265"/>
                    <a:pt x="195" y="265"/>
                  </a:cubicBezTo>
                  <a:lnTo>
                    <a:pt x="133" y="469"/>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sp>
          <p:nvSpPr>
            <p:cNvPr id="27" name="Rectangle 26">
              <a:extLst>
                <a:ext uri="{FF2B5EF4-FFF2-40B4-BE49-F238E27FC236}">
                  <a16:creationId xmlns:a16="http://schemas.microsoft.com/office/drawing/2014/main" id="{2E8A54F1-4383-2A46-ACEA-3A64DDAB4665}"/>
                </a:ext>
              </a:extLst>
            </p:cNvPr>
            <p:cNvSpPr/>
            <p:nvPr/>
          </p:nvSpPr>
          <p:spPr>
            <a:xfrm>
              <a:off x="3998295" y="2461101"/>
              <a:ext cx="1593444" cy="258532"/>
            </a:xfrm>
            <a:prstGeom prst="rect">
              <a:avLst/>
            </a:prstGeom>
          </p:spPr>
          <p:txBody>
            <a:bodyPr wrap="square">
              <a:spAutoFit/>
            </a:bodyPr>
            <a:lstStyle/>
            <a:p>
              <a:pPr>
                <a:lnSpc>
                  <a:spcPct val="90000"/>
                </a:lnSpc>
              </a:pPr>
              <a:r>
                <a:rPr lang="en-US" sz="1200" b="1" dirty="0">
                  <a:solidFill>
                    <a:schemeClr val="accent2"/>
                  </a:solidFill>
                </a:rPr>
                <a:t>Automation Journey</a:t>
              </a:r>
            </a:p>
          </p:txBody>
        </p:sp>
      </p:grpSp>
    </p:spTree>
    <p:extLst>
      <p:ext uri="{BB962C8B-B14F-4D97-AF65-F5344CB8AC3E}">
        <p14:creationId xmlns:p14="http://schemas.microsoft.com/office/powerpoint/2010/main" val="27124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xEl>
                                              <p:pRg st="0" end="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417F422-E19F-0043-AF03-09272D15ED09}"/>
              </a:ext>
            </a:extLst>
          </p:cNvPr>
          <p:cNvSpPr/>
          <p:nvPr/>
        </p:nvSpPr>
        <p:spPr>
          <a:xfrm>
            <a:off x="3647009"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92549790-D2F8-47B0-9AC1-D3E3FFFE316F}"/>
              </a:ext>
            </a:extLst>
          </p:cNvPr>
          <p:cNvSpPr/>
          <p:nvPr/>
        </p:nvSpPr>
        <p:spPr>
          <a:xfrm>
            <a:off x="1809671" y="2776259"/>
            <a:ext cx="1593445" cy="406986"/>
          </a:xfrm>
          <a:prstGeom prst="roundRect">
            <a:avLst>
              <a:gd name="adj" fmla="val 50000"/>
            </a:avLst>
          </a:prstGeom>
          <a:solidFill>
            <a:schemeClr val="tx1"/>
          </a:solidFill>
          <a:ln>
            <a:solidFill>
              <a:schemeClr val="tx1"/>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2017</a:t>
            </a:r>
          </a:p>
        </p:txBody>
      </p:sp>
      <p:sp>
        <p:nvSpPr>
          <p:cNvPr id="69" name="Rectangle: Rounded Corners 68">
            <a:extLst>
              <a:ext uri="{FF2B5EF4-FFF2-40B4-BE49-F238E27FC236}">
                <a16:creationId xmlns:a16="http://schemas.microsoft.com/office/drawing/2014/main" id="{F3731C01-A51D-4DB8-A447-F4E884B0EBFA}"/>
              </a:ext>
            </a:extLst>
          </p:cNvPr>
          <p:cNvSpPr/>
          <p:nvPr/>
        </p:nvSpPr>
        <p:spPr>
          <a:xfrm>
            <a:off x="3701754" y="2769545"/>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8</a:t>
            </a:r>
          </a:p>
        </p:txBody>
      </p:sp>
      <p:sp>
        <p:nvSpPr>
          <p:cNvPr id="72" name="Rectangle: Rounded Corners 71">
            <a:extLst>
              <a:ext uri="{FF2B5EF4-FFF2-40B4-BE49-F238E27FC236}">
                <a16:creationId xmlns:a16="http://schemas.microsoft.com/office/drawing/2014/main" id="{B283A46F-53C3-4FA3-890B-FACC79BF8F88}"/>
              </a:ext>
            </a:extLst>
          </p:cNvPr>
          <p:cNvSpPr/>
          <p:nvPr/>
        </p:nvSpPr>
        <p:spPr>
          <a:xfrm>
            <a:off x="5696508" y="2776259"/>
            <a:ext cx="1593445" cy="406986"/>
          </a:xfrm>
          <a:prstGeom prst="roundRect">
            <a:avLst>
              <a:gd name="adj" fmla="val 50000"/>
            </a:avLst>
          </a:prstGeom>
          <a:solidFill>
            <a:srgbClr val="FFC000"/>
          </a:solidFill>
          <a:ln>
            <a:solidFill>
              <a:srgbClr val="FFC000"/>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9</a:t>
            </a:r>
          </a:p>
        </p:txBody>
      </p:sp>
      <p:sp>
        <p:nvSpPr>
          <p:cNvPr id="75" name="Rectangle: Rounded Corners 74">
            <a:extLst>
              <a:ext uri="{FF2B5EF4-FFF2-40B4-BE49-F238E27FC236}">
                <a16:creationId xmlns:a16="http://schemas.microsoft.com/office/drawing/2014/main" id="{FA73C4D0-DDD8-4727-8282-8CF8773EBF11}"/>
              </a:ext>
            </a:extLst>
          </p:cNvPr>
          <p:cNvSpPr/>
          <p:nvPr/>
        </p:nvSpPr>
        <p:spPr>
          <a:xfrm>
            <a:off x="7643334"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0</a:t>
            </a:r>
          </a:p>
        </p:txBody>
      </p:sp>
      <p:sp>
        <p:nvSpPr>
          <p:cNvPr id="81" name="TextBox 80">
            <a:extLst>
              <a:ext uri="{FF2B5EF4-FFF2-40B4-BE49-F238E27FC236}">
                <a16:creationId xmlns:a16="http://schemas.microsoft.com/office/drawing/2014/main" id="{5C23DCAC-30B5-4B84-A2C8-3FEC1A416002}"/>
              </a:ext>
            </a:extLst>
          </p:cNvPr>
          <p:cNvSpPr txBox="1"/>
          <p:nvPr/>
        </p:nvSpPr>
        <p:spPr>
          <a:xfrm>
            <a:off x="208677" y="3457630"/>
            <a:ext cx="1441618" cy="432792"/>
          </a:xfrm>
          <a:prstGeom prst="roundRect">
            <a:avLst>
              <a:gd name="adj" fmla="val 50000"/>
            </a:avLst>
          </a:prstGeom>
          <a:solidFill>
            <a:schemeClr val="accent1"/>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People</a:t>
            </a:r>
          </a:p>
        </p:txBody>
      </p:sp>
      <p:sp>
        <p:nvSpPr>
          <p:cNvPr id="112" name="TextBox 111">
            <a:extLst>
              <a:ext uri="{FF2B5EF4-FFF2-40B4-BE49-F238E27FC236}">
                <a16:creationId xmlns:a16="http://schemas.microsoft.com/office/drawing/2014/main" id="{14A3DD07-8027-4B98-B1FA-3F5F60D64BBB}"/>
              </a:ext>
            </a:extLst>
          </p:cNvPr>
          <p:cNvSpPr txBox="1"/>
          <p:nvPr/>
        </p:nvSpPr>
        <p:spPr>
          <a:xfrm>
            <a:off x="208677" y="4738610"/>
            <a:ext cx="1441618" cy="432792"/>
          </a:xfrm>
          <a:prstGeom prst="roundRect">
            <a:avLst>
              <a:gd name="adj" fmla="val 50000"/>
            </a:avLst>
          </a:prstGeom>
          <a:solidFill>
            <a:srgbClr val="9F53ED"/>
          </a:solidFill>
          <a:ln>
            <a:solidFill>
              <a:srgbClr val="9F53ED"/>
            </a:solidFill>
          </a:ln>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est Approach</a:t>
            </a:r>
          </a:p>
        </p:txBody>
      </p:sp>
      <p:sp>
        <p:nvSpPr>
          <p:cNvPr id="118" name="TextBox 117">
            <a:extLst>
              <a:ext uri="{FF2B5EF4-FFF2-40B4-BE49-F238E27FC236}">
                <a16:creationId xmlns:a16="http://schemas.microsoft.com/office/drawing/2014/main" id="{C7794342-9C22-4241-99A6-56E9CED9F7C3}"/>
              </a:ext>
            </a:extLst>
          </p:cNvPr>
          <p:cNvSpPr txBox="1"/>
          <p:nvPr/>
        </p:nvSpPr>
        <p:spPr>
          <a:xfrm>
            <a:off x="208677" y="6098659"/>
            <a:ext cx="1441618" cy="432792"/>
          </a:xfrm>
          <a:prstGeom prst="roundRect">
            <a:avLst>
              <a:gd name="adj" fmla="val 50000"/>
            </a:avLst>
          </a:prstGeom>
          <a:solidFill>
            <a:schemeClr val="accent3"/>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ools</a:t>
            </a:r>
          </a:p>
        </p:txBody>
      </p:sp>
      <p:pic>
        <p:nvPicPr>
          <p:cNvPr id="52" name="Picture 51">
            <a:extLst>
              <a:ext uri="{FF2B5EF4-FFF2-40B4-BE49-F238E27FC236}">
                <a16:creationId xmlns:a16="http://schemas.microsoft.com/office/drawing/2014/main" id="{7B9D4ECA-83BA-EB42-A415-4E2ADD5D8FDB}"/>
              </a:ext>
            </a:extLst>
          </p:cNvPr>
          <p:cNvPicPr>
            <a:picLocks noChangeAspect="1"/>
          </p:cNvPicPr>
          <p:nvPr/>
        </p:nvPicPr>
        <p:blipFill>
          <a:blip r:embed="rId3"/>
          <a:srcRect t="31198" b="31198"/>
          <a:stretch/>
        </p:blipFill>
        <p:spPr>
          <a:xfrm>
            <a:off x="20" y="10"/>
            <a:ext cx="12191980" cy="253298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6" name="Straight Connector 15">
            <a:extLst>
              <a:ext uri="{FF2B5EF4-FFF2-40B4-BE49-F238E27FC236}">
                <a16:creationId xmlns:a16="http://schemas.microsoft.com/office/drawing/2014/main" id="{11738CF9-7D7F-BE43-8B65-6F6BD81134F2}"/>
              </a:ext>
            </a:extLst>
          </p:cNvPr>
          <p:cNvCxnSpPr>
            <a:cxnSpLocks/>
          </p:cNvCxnSpPr>
          <p:nvPr/>
        </p:nvCxnSpPr>
        <p:spPr>
          <a:xfrm>
            <a:off x="4491660"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8" name="Rectangle 57">
            <a:extLst>
              <a:ext uri="{FF2B5EF4-FFF2-40B4-BE49-F238E27FC236}">
                <a16:creationId xmlns:a16="http://schemas.microsoft.com/office/drawing/2014/main" id="{FAEB72B3-D760-DB4E-B89A-F5177ADF4797}"/>
              </a:ext>
            </a:extLst>
          </p:cNvPr>
          <p:cNvSpPr/>
          <p:nvPr/>
        </p:nvSpPr>
        <p:spPr>
          <a:xfrm>
            <a:off x="7595406"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Connector 58">
            <a:extLst>
              <a:ext uri="{FF2B5EF4-FFF2-40B4-BE49-F238E27FC236}">
                <a16:creationId xmlns:a16="http://schemas.microsoft.com/office/drawing/2014/main" id="{94EE696C-0CE8-3D41-9892-FEEE6E65ED46}"/>
              </a:ext>
            </a:extLst>
          </p:cNvPr>
          <p:cNvCxnSpPr>
            <a:cxnSpLocks/>
          </p:cNvCxnSpPr>
          <p:nvPr/>
        </p:nvCxnSpPr>
        <p:spPr>
          <a:xfrm>
            <a:off x="8440057"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Rounded Corners 74">
            <a:extLst>
              <a:ext uri="{FF2B5EF4-FFF2-40B4-BE49-F238E27FC236}">
                <a16:creationId xmlns:a16="http://schemas.microsoft.com/office/drawing/2014/main" id="{C555A392-E2F5-F647-A613-691839CB1CC4}"/>
              </a:ext>
            </a:extLst>
          </p:cNvPr>
          <p:cNvSpPr/>
          <p:nvPr/>
        </p:nvSpPr>
        <p:spPr>
          <a:xfrm>
            <a:off x="9596975"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1</a:t>
            </a:r>
          </a:p>
        </p:txBody>
      </p:sp>
      <p:sp>
        <p:nvSpPr>
          <p:cNvPr id="63" name="Rectangle 62">
            <a:extLst>
              <a:ext uri="{FF2B5EF4-FFF2-40B4-BE49-F238E27FC236}">
                <a16:creationId xmlns:a16="http://schemas.microsoft.com/office/drawing/2014/main" id="{A3E71FC9-E258-0248-A3BC-D8CD588C1678}"/>
              </a:ext>
            </a:extLst>
          </p:cNvPr>
          <p:cNvSpPr/>
          <p:nvPr/>
        </p:nvSpPr>
        <p:spPr>
          <a:xfrm>
            <a:off x="9542232"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a:extLst>
              <a:ext uri="{FF2B5EF4-FFF2-40B4-BE49-F238E27FC236}">
                <a16:creationId xmlns:a16="http://schemas.microsoft.com/office/drawing/2014/main" id="{6D6C98DD-44EC-7F4D-BEA2-DFAA1FBE8698}"/>
              </a:ext>
            </a:extLst>
          </p:cNvPr>
          <p:cNvCxnSpPr>
            <a:cxnSpLocks/>
          </p:cNvCxnSpPr>
          <p:nvPr/>
        </p:nvCxnSpPr>
        <p:spPr>
          <a:xfrm>
            <a:off x="10398534" y="3244276"/>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Rectangle 24">
            <a:extLst>
              <a:ext uri="{FF2B5EF4-FFF2-40B4-BE49-F238E27FC236}">
                <a16:creationId xmlns:a16="http://schemas.microsoft.com/office/drawing/2014/main" id="{6CE7F285-D5A0-8D4D-8880-7A715189E49D}"/>
              </a:ext>
            </a:extLst>
          </p:cNvPr>
          <p:cNvSpPr/>
          <p:nvPr/>
        </p:nvSpPr>
        <p:spPr>
          <a:xfrm>
            <a:off x="1733520" y="3244276"/>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44A11452-6309-DC4E-AA50-B9357CCE81DD}"/>
              </a:ext>
            </a:extLst>
          </p:cNvPr>
          <p:cNvCxnSpPr>
            <a:cxnSpLocks/>
          </p:cNvCxnSpPr>
          <p:nvPr/>
        </p:nvCxnSpPr>
        <p:spPr>
          <a:xfrm>
            <a:off x="2578171" y="3244276"/>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1" name="Rectangle 20">
            <a:extLst>
              <a:ext uri="{FF2B5EF4-FFF2-40B4-BE49-F238E27FC236}">
                <a16:creationId xmlns:a16="http://schemas.microsoft.com/office/drawing/2014/main" id="{10FF9B18-FAF8-FD4B-9C89-E40059095865}"/>
              </a:ext>
            </a:extLst>
          </p:cNvPr>
          <p:cNvSpPr/>
          <p:nvPr/>
        </p:nvSpPr>
        <p:spPr>
          <a:xfrm>
            <a:off x="5675887" y="3295317"/>
            <a:ext cx="1672109" cy="1089529"/>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err="1">
                <a:solidFill>
                  <a:schemeClr val="accent1"/>
                </a:solidFill>
              </a:rPr>
              <a:t>PluralSight</a:t>
            </a:r>
            <a:endParaRPr lang="en-US" sz="1200" b="1" dirty="0">
              <a:solidFill>
                <a:schemeClr val="accent1"/>
              </a:solidFill>
            </a:endParaRPr>
          </a:p>
          <a:p>
            <a:pPr marL="171450" indent="-171450">
              <a:lnSpc>
                <a:spcPct val="90000"/>
              </a:lnSpc>
              <a:buFont typeface="Arial" panose="020B0604020202020204" pitchFamily="34" charset="0"/>
              <a:buChar char="•"/>
            </a:pPr>
            <a:r>
              <a:rPr lang="en-US" sz="1200" b="1" dirty="0">
                <a:solidFill>
                  <a:schemeClr val="accent1"/>
                </a:solidFill>
              </a:rPr>
              <a:t>Skills Assessment</a:t>
            </a:r>
          </a:p>
          <a:p>
            <a:pPr marL="171450" indent="-171450">
              <a:lnSpc>
                <a:spcPct val="90000"/>
              </a:lnSpc>
              <a:buFont typeface="Arial" panose="020B0604020202020204" pitchFamily="34" charset="0"/>
              <a:buChar char="•"/>
            </a:pPr>
            <a:r>
              <a:rPr lang="en-US" sz="1200" b="1" dirty="0">
                <a:solidFill>
                  <a:schemeClr val="accent1"/>
                </a:solidFill>
              </a:rPr>
              <a:t>Development Plans</a:t>
            </a:r>
          </a:p>
          <a:p>
            <a:pPr marL="171450" indent="-171450">
              <a:lnSpc>
                <a:spcPct val="90000"/>
              </a:lnSpc>
              <a:buFont typeface="Arial" panose="020B0604020202020204" pitchFamily="34" charset="0"/>
              <a:buChar char="•"/>
            </a:pPr>
            <a:r>
              <a:rPr lang="en-US" sz="1200" b="1" dirty="0">
                <a:solidFill>
                  <a:schemeClr val="accent1"/>
                </a:solidFill>
              </a:rPr>
              <a:t>Hired 10 contractors to support growth and demand</a:t>
            </a:r>
          </a:p>
        </p:txBody>
      </p:sp>
      <p:sp>
        <p:nvSpPr>
          <p:cNvPr id="22" name="Rectangle 21">
            <a:extLst>
              <a:ext uri="{FF2B5EF4-FFF2-40B4-BE49-F238E27FC236}">
                <a16:creationId xmlns:a16="http://schemas.microsoft.com/office/drawing/2014/main" id="{681059FA-8CAB-F844-8EAD-661B1B6D4FD4}"/>
              </a:ext>
            </a:extLst>
          </p:cNvPr>
          <p:cNvSpPr/>
          <p:nvPr/>
        </p:nvSpPr>
        <p:spPr>
          <a:xfrm>
            <a:off x="5692991" y="4404606"/>
            <a:ext cx="1702933" cy="1255728"/>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rgbClr val="9F53ED"/>
                </a:solidFill>
              </a:rPr>
              <a:t>UI Automation (POM)</a:t>
            </a:r>
          </a:p>
          <a:p>
            <a:pPr marL="171450" indent="-171450">
              <a:lnSpc>
                <a:spcPct val="90000"/>
              </a:lnSpc>
              <a:buFont typeface="Arial" panose="020B0604020202020204" pitchFamily="34" charset="0"/>
              <a:buChar char="•"/>
            </a:pPr>
            <a:r>
              <a:rPr lang="en-US" sz="1200" b="1" dirty="0">
                <a:solidFill>
                  <a:srgbClr val="9F53ED"/>
                </a:solidFill>
              </a:rPr>
              <a:t>Shift API automation using Postman to MSVS</a:t>
            </a:r>
          </a:p>
          <a:p>
            <a:pPr marL="171450" indent="-171450">
              <a:lnSpc>
                <a:spcPct val="90000"/>
              </a:lnSpc>
              <a:buFont typeface="Arial" panose="020B0604020202020204" pitchFamily="34" charset="0"/>
              <a:buChar char="•"/>
            </a:pPr>
            <a:r>
              <a:rPr lang="en-US" sz="1200" b="1" dirty="0">
                <a:solidFill>
                  <a:srgbClr val="9F53ED"/>
                </a:solidFill>
              </a:rPr>
              <a:t>Automation Checklist</a:t>
            </a:r>
            <a:endParaRPr lang="id-ID" sz="1200" b="1" dirty="0">
              <a:solidFill>
                <a:srgbClr val="9F53ED"/>
              </a:solidFill>
            </a:endParaRPr>
          </a:p>
        </p:txBody>
      </p:sp>
      <p:sp>
        <p:nvSpPr>
          <p:cNvPr id="23" name="Rectangle 22">
            <a:extLst>
              <a:ext uri="{FF2B5EF4-FFF2-40B4-BE49-F238E27FC236}">
                <a16:creationId xmlns:a16="http://schemas.microsoft.com/office/drawing/2014/main" id="{05624CCB-B014-4A41-A779-C1025C588755}"/>
              </a:ext>
            </a:extLst>
          </p:cNvPr>
          <p:cNvSpPr/>
          <p:nvPr/>
        </p:nvSpPr>
        <p:spPr>
          <a:xfrm>
            <a:off x="5725509" y="5763843"/>
            <a:ext cx="1593443" cy="1089529"/>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chemeClr val="accent3"/>
                </a:solidFill>
              </a:rPr>
              <a:t>Selenium with Appium, using MS Test and C# </a:t>
            </a:r>
            <a:r>
              <a:rPr lang="en-US" sz="1200" b="1" dirty="0" err="1">
                <a:solidFill>
                  <a:schemeClr val="accent3"/>
                </a:solidFill>
              </a:rPr>
              <a:t>.Net</a:t>
            </a:r>
            <a:endParaRPr lang="en-US" sz="1200" b="1" dirty="0">
              <a:solidFill>
                <a:schemeClr val="accent3"/>
              </a:solidFill>
            </a:endParaRPr>
          </a:p>
          <a:p>
            <a:pPr marL="171450" indent="-171450">
              <a:lnSpc>
                <a:spcPct val="90000"/>
              </a:lnSpc>
              <a:buFont typeface="Arial" panose="020B0604020202020204" pitchFamily="34" charset="0"/>
              <a:buChar char="•"/>
            </a:pPr>
            <a:r>
              <a:rPr lang="en-US" sz="1200" b="1" dirty="0" err="1">
                <a:solidFill>
                  <a:schemeClr val="accent3"/>
                </a:solidFill>
              </a:rPr>
              <a:t>xCode</a:t>
            </a:r>
            <a:endParaRPr lang="en-US" sz="1200" b="1" dirty="0">
              <a:solidFill>
                <a:schemeClr val="accent3"/>
              </a:solidFill>
            </a:endParaRPr>
          </a:p>
          <a:p>
            <a:pPr marL="171450" indent="-171450">
              <a:lnSpc>
                <a:spcPct val="90000"/>
              </a:lnSpc>
              <a:buFont typeface="Arial" panose="020B0604020202020204" pitchFamily="34" charset="0"/>
              <a:buChar char="•"/>
            </a:pPr>
            <a:r>
              <a:rPr lang="en-US" sz="1200" b="1" dirty="0">
                <a:solidFill>
                  <a:schemeClr val="accent3"/>
                </a:solidFill>
              </a:rPr>
              <a:t>Xamarin</a:t>
            </a:r>
          </a:p>
          <a:p>
            <a:pPr marL="171450" indent="-171450">
              <a:lnSpc>
                <a:spcPct val="90000"/>
              </a:lnSpc>
              <a:buFont typeface="Arial" panose="020B0604020202020204" pitchFamily="34" charset="0"/>
              <a:buChar char="•"/>
            </a:pPr>
            <a:r>
              <a:rPr lang="en-US" sz="1200" b="1" dirty="0">
                <a:solidFill>
                  <a:schemeClr val="accent3"/>
                </a:solidFill>
              </a:rPr>
              <a:t>App Center</a:t>
            </a:r>
          </a:p>
        </p:txBody>
      </p:sp>
      <p:grpSp>
        <p:nvGrpSpPr>
          <p:cNvPr id="2" name="Group 1">
            <a:extLst>
              <a:ext uri="{FF2B5EF4-FFF2-40B4-BE49-F238E27FC236}">
                <a16:creationId xmlns:a16="http://schemas.microsoft.com/office/drawing/2014/main" id="{EEC7A5DB-66EB-3E4D-B220-DB587B28DC69}"/>
              </a:ext>
            </a:extLst>
          </p:cNvPr>
          <p:cNvGrpSpPr/>
          <p:nvPr/>
        </p:nvGrpSpPr>
        <p:grpSpPr>
          <a:xfrm>
            <a:off x="5734944" y="2410466"/>
            <a:ext cx="1908390" cy="358031"/>
            <a:chOff x="5734944" y="2410466"/>
            <a:chExt cx="1908390" cy="358031"/>
          </a:xfrm>
        </p:grpSpPr>
        <p:pic>
          <p:nvPicPr>
            <p:cNvPr id="24" name="Graphic 23" descr="Checklist with solid fill">
              <a:extLst>
                <a:ext uri="{FF2B5EF4-FFF2-40B4-BE49-F238E27FC236}">
                  <a16:creationId xmlns:a16="http://schemas.microsoft.com/office/drawing/2014/main" id="{A2A93E83-6BC0-6C4D-8123-B22702734DD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34944" y="2410466"/>
              <a:ext cx="358031" cy="358031"/>
            </a:xfrm>
            <a:prstGeom prst="rect">
              <a:avLst/>
            </a:prstGeom>
          </p:spPr>
        </p:pic>
        <p:sp>
          <p:nvSpPr>
            <p:cNvPr id="27" name="Rectangle 26">
              <a:extLst>
                <a:ext uri="{FF2B5EF4-FFF2-40B4-BE49-F238E27FC236}">
                  <a16:creationId xmlns:a16="http://schemas.microsoft.com/office/drawing/2014/main" id="{6547AA8B-5140-0440-A195-6F4F6851BB1E}"/>
                </a:ext>
              </a:extLst>
            </p:cNvPr>
            <p:cNvSpPr/>
            <p:nvPr/>
          </p:nvSpPr>
          <p:spPr>
            <a:xfrm>
              <a:off x="6049890" y="2489017"/>
              <a:ext cx="1593444" cy="258532"/>
            </a:xfrm>
            <a:prstGeom prst="rect">
              <a:avLst/>
            </a:prstGeom>
          </p:spPr>
          <p:txBody>
            <a:bodyPr wrap="square">
              <a:spAutoFit/>
            </a:bodyPr>
            <a:lstStyle/>
            <a:p>
              <a:pPr>
                <a:lnSpc>
                  <a:spcPct val="90000"/>
                </a:lnSpc>
              </a:pPr>
              <a:r>
                <a:rPr lang="en-US" sz="1200" b="1" dirty="0">
                  <a:solidFill>
                    <a:schemeClr val="accent4"/>
                  </a:solidFill>
                </a:rPr>
                <a:t>Standardize Tools</a:t>
              </a:r>
            </a:p>
          </p:txBody>
        </p:sp>
      </p:grpSp>
    </p:spTree>
    <p:extLst>
      <p:ext uri="{BB962C8B-B14F-4D97-AF65-F5344CB8AC3E}">
        <p14:creationId xmlns:p14="http://schemas.microsoft.com/office/powerpoint/2010/main" val="1401476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2">
                                            <p:txEl>
                                              <p:pRg st="0" end="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xEl>
                                              <p:pRg st="1" end="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3">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3">
                                            <p:txEl>
                                              <p:pRg st="1" end="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3">
                                            <p:txEl>
                                              <p:pRg st="2" end="2"/>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417F422-E19F-0043-AF03-09272D15ED09}"/>
              </a:ext>
            </a:extLst>
          </p:cNvPr>
          <p:cNvSpPr/>
          <p:nvPr/>
        </p:nvSpPr>
        <p:spPr>
          <a:xfrm>
            <a:off x="3647009"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92549790-D2F8-47B0-9AC1-D3E3FFFE316F}"/>
              </a:ext>
            </a:extLst>
          </p:cNvPr>
          <p:cNvSpPr/>
          <p:nvPr/>
        </p:nvSpPr>
        <p:spPr>
          <a:xfrm>
            <a:off x="1809671" y="2776259"/>
            <a:ext cx="1593445" cy="406986"/>
          </a:xfrm>
          <a:prstGeom prst="roundRect">
            <a:avLst>
              <a:gd name="adj" fmla="val 50000"/>
            </a:avLst>
          </a:prstGeom>
          <a:solidFill>
            <a:schemeClr val="tx1"/>
          </a:solidFill>
          <a:ln>
            <a:solidFill>
              <a:schemeClr val="tx1"/>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2017</a:t>
            </a:r>
          </a:p>
        </p:txBody>
      </p:sp>
      <p:sp>
        <p:nvSpPr>
          <p:cNvPr id="69" name="Rectangle: Rounded Corners 68">
            <a:extLst>
              <a:ext uri="{FF2B5EF4-FFF2-40B4-BE49-F238E27FC236}">
                <a16:creationId xmlns:a16="http://schemas.microsoft.com/office/drawing/2014/main" id="{F3731C01-A51D-4DB8-A447-F4E884B0EBFA}"/>
              </a:ext>
            </a:extLst>
          </p:cNvPr>
          <p:cNvSpPr/>
          <p:nvPr/>
        </p:nvSpPr>
        <p:spPr>
          <a:xfrm>
            <a:off x="3701754" y="2769545"/>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8</a:t>
            </a:r>
          </a:p>
        </p:txBody>
      </p:sp>
      <p:sp>
        <p:nvSpPr>
          <p:cNvPr id="72" name="Rectangle: Rounded Corners 71">
            <a:extLst>
              <a:ext uri="{FF2B5EF4-FFF2-40B4-BE49-F238E27FC236}">
                <a16:creationId xmlns:a16="http://schemas.microsoft.com/office/drawing/2014/main" id="{B283A46F-53C3-4FA3-890B-FACC79BF8F88}"/>
              </a:ext>
            </a:extLst>
          </p:cNvPr>
          <p:cNvSpPr/>
          <p:nvPr/>
        </p:nvSpPr>
        <p:spPr>
          <a:xfrm>
            <a:off x="5696508"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9</a:t>
            </a:r>
          </a:p>
        </p:txBody>
      </p:sp>
      <p:sp>
        <p:nvSpPr>
          <p:cNvPr id="75" name="Rectangle: Rounded Corners 74">
            <a:extLst>
              <a:ext uri="{FF2B5EF4-FFF2-40B4-BE49-F238E27FC236}">
                <a16:creationId xmlns:a16="http://schemas.microsoft.com/office/drawing/2014/main" id="{FA73C4D0-DDD8-4727-8282-8CF8773EBF11}"/>
              </a:ext>
            </a:extLst>
          </p:cNvPr>
          <p:cNvSpPr/>
          <p:nvPr/>
        </p:nvSpPr>
        <p:spPr>
          <a:xfrm>
            <a:off x="7643334" y="2776259"/>
            <a:ext cx="1593445" cy="406986"/>
          </a:xfrm>
          <a:prstGeom prst="roundRect">
            <a:avLst>
              <a:gd name="adj" fmla="val 50000"/>
            </a:avLst>
          </a:prstGeom>
          <a:solidFill>
            <a:srgbClr val="92D050"/>
          </a:solidFill>
          <a:ln>
            <a:solidFill>
              <a:srgbClr val="92D050"/>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0</a:t>
            </a:r>
          </a:p>
        </p:txBody>
      </p:sp>
      <p:sp>
        <p:nvSpPr>
          <p:cNvPr id="81" name="TextBox 80">
            <a:extLst>
              <a:ext uri="{FF2B5EF4-FFF2-40B4-BE49-F238E27FC236}">
                <a16:creationId xmlns:a16="http://schemas.microsoft.com/office/drawing/2014/main" id="{5C23DCAC-30B5-4B84-A2C8-3FEC1A416002}"/>
              </a:ext>
            </a:extLst>
          </p:cNvPr>
          <p:cNvSpPr txBox="1"/>
          <p:nvPr/>
        </p:nvSpPr>
        <p:spPr>
          <a:xfrm>
            <a:off x="208677" y="3457630"/>
            <a:ext cx="1441618" cy="432792"/>
          </a:xfrm>
          <a:prstGeom prst="roundRect">
            <a:avLst>
              <a:gd name="adj" fmla="val 50000"/>
            </a:avLst>
          </a:prstGeom>
          <a:solidFill>
            <a:schemeClr val="accent1"/>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People</a:t>
            </a:r>
          </a:p>
        </p:txBody>
      </p:sp>
      <p:sp>
        <p:nvSpPr>
          <p:cNvPr id="112" name="TextBox 111">
            <a:extLst>
              <a:ext uri="{FF2B5EF4-FFF2-40B4-BE49-F238E27FC236}">
                <a16:creationId xmlns:a16="http://schemas.microsoft.com/office/drawing/2014/main" id="{14A3DD07-8027-4B98-B1FA-3F5F60D64BBB}"/>
              </a:ext>
            </a:extLst>
          </p:cNvPr>
          <p:cNvSpPr txBox="1"/>
          <p:nvPr/>
        </p:nvSpPr>
        <p:spPr>
          <a:xfrm>
            <a:off x="208677" y="4738610"/>
            <a:ext cx="1441618" cy="432792"/>
          </a:xfrm>
          <a:prstGeom prst="roundRect">
            <a:avLst>
              <a:gd name="adj" fmla="val 50000"/>
            </a:avLst>
          </a:prstGeom>
          <a:solidFill>
            <a:srgbClr val="9F53ED"/>
          </a:solidFill>
          <a:ln>
            <a:solidFill>
              <a:srgbClr val="9F53ED"/>
            </a:solidFill>
          </a:ln>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est Approach</a:t>
            </a:r>
          </a:p>
        </p:txBody>
      </p:sp>
      <p:sp>
        <p:nvSpPr>
          <p:cNvPr id="118" name="TextBox 117">
            <a:extLst>
              <a:ext uri="{FF2B5EF4-FFF2-40B4-BE49-F238E27FC236}">
                <a16:creationId xmlns:a16="http://schemas.microsoft.com/office/drawing/2014/main" id="{C7794342-9C22-4241-99A6-56E9CED9F7C3}"/>
              </a:ext>
            </a:extLst>
          </p:cNvPr>
          <p:cNvSpPr txBox="1"/>
          <p:nvPr/>
        </p:nvSpPr>
        <p:spPr>
          <a:xfrm>
            <a:off x="208677" y="6098659"/>
            <a:ext cx="1441618" cy="432792"/>
          </a:xfrm>
          <a:prstGeom prst="roundRect">
            <a:avLst>
              <a:gd name="adj" fmla="val 50000"/>
            </a:avLst>
          </a:prstGeom>
          <a:solidFill>
            <a:schemeClr val="accent3"/>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ools</a:t>
            </a:r>
          </a:p>
        </p:txBody>
      </p:sp>
      <p:pic>
        <p:nvPicPr>
          <p:cNvPr id="52" name="Picture 51">
            <a:extLst>
              <a:ext uri="{FF2B5EF4-FFF2-40B4-BE49-F238E27FC236}">
                <a16:creationId xmlns:a16="http://schemas.microsoft.com/office/drawing/2014/main" id="{7B9D4ECA-83BA-EB42-A415-4E2ADD5D8FDB}"/>
              </a:ext>
            </a:extLst>
          </p:cNvPr>
          <p:cNvPicPr>
            <a:picLocks noChangeAspect="1"/>
          </p:cNvPicPr>
          <p:nvPr/>
        </p:nvPicPr>
        <p:blipFill>
          <a:blip r:embed="rId3"/>
          <a:srcRect t="31198" b="31198"/>
          <a:stretch/>
        </p:blipFill>
        <p:spPr>
          <a:xfrm>
            <a:off x="20" y="10"/>
            <a:ext cx="12191980" cy="253298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6" name="Straight Connector 15">
            <a:extLst>
              <a:ext uri="{FF2B5EF4-FFF2-40B4-BE49-F238E27FC236}">
                <a16:creationId xmlns:a16="http://schemas.microsoft.com/office/drawing/2014/main" id="{11738CF9-7D7F-BE43-8B65-6F6BD81134F2}"/>
              </a:ext>
            </a:extLst>
          </p:cNvPr>
          <p:cNvCxnSpPr>
            <a:cxnSpLocks/>
          </p:cNvCxnSpPr>
          <p:nvPr/>
        </p:nvCxnSpPr>
        <p:spPr>
          <a:xfrm>
            <a:off x="4491660"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6" name="Rectangle 55">
            <a:extLst>
              <a:ext uri="{FF2B5EF4-FFF2-40B4-BE49-F238E27FC236}">
                <a16:creationId xmlns:a16="http://schemas.microsoft.com/office/drawing/2014/main" id="{898527AF-DC86-524F-8C2F-289B645E821C}"/>
              </a:ext>
            </a:extLst>
          </p:cNvPr>
          <p:cNvSpPr/>
          <p:nvPr/>
        </p:nvSpPr>
        <p:spPr>
          <a:xfrm>
            <a:off x="5648580"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83E774EC-52E9-5B4A-A4E0-9D68BFAE8CB9}"/>
              </a:ext>
            </a:extLst>
          </p:cNvPr>
          <p:cNvCxnSpPr>
            <a:cxnSpLocks/>
          </p:cNvCxnSpPr>
          <p:nvPr/>
        </p:nvCxnSpPr>
        <p:spPr>
          <a:xfrm>
            <a:off x="6493231"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Rounded Corners 74">
            <a:extLst>
              <a:ext uri="{FF2B5EF4-FFF2-40B4-BE49-F238E27FC236}">
                <a16:creationId xmlns:a16="http://schemas.microsoft.com/office/drawing/2014/main" id="{C555A392-E2F5-F647-A613-691839CB1CC4}"/>
              </a:ext>
            </a:extLst>
          </p:cNvPr>
          <p:cNvSpPr/>
          <p:nvPr/>
        </p:nvSpPr>
        <p:spPr>
          <a:xfrm>
            <a:off x="9596975"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1</a:t>
            </a:r>
          </a:p>
        </p:txBody>
      </p:sp>
      <p:sp>
        <p:nvSpPr>
          <p:cNvPr id="63" name="Rectangle 62">
            <a:extLst>
              <a:ext uri="{FF2B5EF4-FFF2-40B4-BE49-F238E27FC236}">
                <a16:creationId xmlns:a16="http://schemas.microsoft.com/office/drawing/2014/main" id="{A3E71FC9-E258-0248-A3BC-D8CD588C1678}"/>
              </a:ext>
            </a:extLst>
          </p:cNvPr>
          <p:cNvSpPr/>
          <p:nvPr/>
        </p:nvSpPr>
        <p:spPr>
          <a:xfrm>
            <a:off x="9542232"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a:extLst>
              <a:ext uri="{FF2B5EF4-FFF2-40B4-BE49-F238E27FC236}">
                <a16:creationId xmlns:a16="http://schemas.microsoft.com/office/drawing/2014/main" id="{6D6C98DD-44EC-7F4D-BEA2-DFAA1FBE8698}"/>
              </a:ext>
            </a:extLst>
          </p:cNvPr>
          <p:cNvCxnSpPr>
            <a:cxnSpLocks/>
          </p:cNvCxnSpPr>
          <p:nvPr/>
        </p:nvCxnSpPr>
        <p:spPr>
          <a:xfrm>
            <a:off x="10398534" y="3244276"/>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5" name="Rectangle 24">
            <a:extLst>
              <a:ext uri="{FF2B5EF4-FFF2-40B4-BE49-F238E27FC236}">
                <a16:creationId xmlns:a16="http://schemas.microsoft.com/office/drawing/2014/main" id="{6CE7F285-D5A0-8D4D-8880-7A715189E49D}"/>
              </a:ext>
            </a:extLst>
          </p:cNvPr>
          <p:cNvSpPr/>
          <p:nvPr/>
        </p:nvSpPr>
        <p:spPr>
          <a:xfrm>
            <a:off x="1733520" y="3244276"/>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44A11452-6309-DC4E-AA50-B9357CCE81DD}"/>
              </a:ext>
            </a:extLst>
          </p:cNvPr>
          <p:cNvCxnSpPr>
            <a:cxnSpLocks/>
          </p:cNvCxnSpPr>
          <p:nvPr/>
        </p:nvCxnSpPr>
        <p:spPr>
          <a:xfrm>
            <a:off x="2578171" y="3244276"/>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1" name="Rectangle 20">
            <a:extLst>
              <a:ext uri="{FF2B5EF4-FFF2-40B4-BE49-F238E27FC236}">
                <a16:creationId xmlns:a16="http://schemas.microsoft.com/office/drawing/2014/main" id="{1724F452-E79F-5548-A887-CFBA384547E4}"/>
              </a:ext>
            </a:extLst>
          </p:cNvPr>
          <p:cNvSpPr/>
          <p:nvPr/>
        </p:nvSpPr>
        <p:spPr>
          <a:xfrm>
            <a:off x="7594416" y="3457630"/>
            <a:ext cx="1702934" cy="757130"/>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chemeClr val="accent1"/>
                </a:solidFill>
              </a:rPr>
              <a:t>Created test engineer roles in department</a:t>
            </a:r>
          </a:p>
          <a:p>
            <a:pPr marL="171450" indent="-171450">
              <a:lnSpc>
                <a:spcPct val="90000"/>
              </a:lnSpc>
              <a:buFont typeface="Arial" panose="020B0604020202020204" pitchFamily="34" charset="0"/>
              <a:buChar char="•"/>
            </a:pPr>
            <a:r>
              <a:rPr lang="en-US" sz="1200" b="1" dirty="0">
                <a:solidFill>
                  <a:schemeClr val="accent1"/>
                </a:solidFill>
              </a:rPr>
              <a:t>Hired 12 new directs</a:t>
            </a:r>
          </a:p>
        </p:txBody>
      </p:sp>
      <p:sp>
        <p:nvSpPr>
          <p:cNvPr id="22" name="Rectangle 21">
            <a:extLst>
              <a:ext uri="{FF2B5EF4-FFF2-40B4-BE49-F238E27FC236}">
                <a16:creationId xmlns:a16="http://schemas.microsoft.com/office/drawing/2014/main" id="{98A9D093-288A-1345-A6A1-7771B40115E9}"/>
              </a:ext>
            </a:extLst>
          </p:cNvPr>
          <p:cNvSpPr/>
          <p:nvPr/>
        </p:nvSpPr>
        <p:spPr>
          <a:xfrm>
            <a:off x="7594415" y="4650213"/>
            <a:ext cx="1662239" cy="757130"/>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rgbClr val="9F53ED"/>
                </a:solidFill>
              </a:rPr>
              <a:t>Re-write Android app automation</a:t>
            </a:r>
          </a:p>
          <a:p>
            <a:pPr marL="171450" indent="-171450">
              <a:lnSpc>
                <a:spcPct val="90000"/>
              </a:lnSpc>
              <a:buFont typeface="Arial" panose="020B0604020202020204" pitchFamily="34" charset="0"/>
              <a:buChar char="•"/>
            </a:pPr>
            <a:r>
              <a:rPr lang="en-US" sz="1200" b="1" dirty="0">
                <a:solidFill>
                  <a:srgbClr val="9F53ED"/>
                </a:solidFill>
              </a:rPr>
              <a:t>Data Injection/Tear Down</a:t>
            </a:r>
            <a:endParaRPr lang="id-ID" sz="1200" b="1" dirty="0">
              <a:solidFill>
                <a:srgbClr val="9F53ED"/>
              </a:solidFill>
            </a:endParaRPr>
          </a:p>
        </p:txBody>
      </p:sp>
      <p:sp>
        <p:nvSpPr>
          <p:cNvPr id="23" name="Rectangle 22">
            <a:extLst>
              <a:ext uri="{FF2B5EF4-FFF2-40B4-BE49-F238E27FC236}">
                <a16:creationId xmlns:a16="http://schemas.microsoft.com/office/drawing/2014/main" id="{B67F5E1D-F6FA-0448-A492-C5E1DE5CB5A9}"/>
              </a:ext>
            </a:extLst>
          </p:cNvPr>
          <p:cNvSpPr/>
          <p:nvPr/>
        </p:nvSpPr>
        <p:spPr>
          <a:xfrm>
            <a:off x="7634580" y="6180491"/>
            <a:ext cx="1593443" cy="258532"/>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chemeClr val="accent3"/>
                </a:solidFill>
              </a:rPr>
              <a:t>Espresso</a:t>
            </a:r>
          </a:p>
        </p:txBody>
      </p:sp>
      <p:grpSp>
        <p:nvGrpSpPr>
          <p:cNvPr id="2" name="Group 1">
            <a:extLst>
              <a:ext uri="{FF2B5EF4-FFF2-40B4-BE49-F238E27FC236}">
                <a16:creationId xmlns:a16="http://schemas.microsoft.com/office/drawing/2014/main" id="{32AD573E-3BBD-9046-AD26-216B3619C531}"/>
              </a:ext>
            </a:extLst>
          </p:cNvPr>
          <p:cNvGrpSpPr/>
          <p:nvPr/>
        </p:nvGrpSpPr>
        <p:grpSpPr>
          <a:xfrm>
            <a:off x="7499237" y="2458274"/>
            <a:ext cx="1852593" cy="286907"/>
            <a:chOff x="7594415" y="2458274"/>
            <a:chExt cx="1852593" cy="286907"/>
          </a:xfrm>
        </p:grpSpPr>
        <p:sp>
          <p:nvSpPr>
            <p:cNvPr id="24" name="Freeform 65">
              <a:extLst>
                <a:ext uri="{FF2B5EF4-FFF2-40B4-BE49-F238E27FC236}">
                  <a16:creationId xmlns:a16="http://schemas.microsoft.com/office/drawing/2014/main" id="{B6E03AEA-3E4F-4740-92DB-6F2C907BBBCE}"/>
                </a:ext>
              </a:extLst>
            </p:cNvPr>
            <p:cNvSpPr>
              <a:spLocks noChangeArrowheads="1"/>
            </p:cNvSpPr>
            <p:nvPr/>
          </p:nvSpPr>
          <p:spPr bwMode="auto">
            <a:xfrm>
              <a:off x="7594415" y="2458274"/>
              <a:ext cx="297299" cy="278981"/>
            </a:xfrm>
            <a:custGeom>
              <a:avLst/>
              <a:gdLst>
                <a:gd name="T0" fmla="*/ 172604 w 417"/>
                <a:gd name="T1" fmla="*/ 91192 h 417"/>
                <a:gd name="T2" fmla="*/ 172604 w 417"/>
                <a:gd name="T3" fmla="*/ 91192 h 417"/>
                <a:gd name="T4" fmla="*/ 188460 w 417"/>
                <a:gd name="T5" fmla="*/ 63340 h 417"/>
                <a:gd name="T6" fmla="*/ 184836 w 417"/>
                <a:gd name="T7" fmla="*/ 47617 h 417"/>
                <a:gd name="T8" fmla="*/ 152671 w 417"/>
                <a:gd name="T9" fmla="*/ 35488 h 417"/>
                <a:gd name="T10" fmla="*/ 144516 w 417"/>
                <a:gd name="T11" fmla="*/ 7637 h 417"/>
                <a:gd name="T12" fmla="*/ 124583 w 417"/>
                <a:gd name="T13" fmla="*/ 0 h 417"/>
                <a:gd name="T14" fmla="*/ 96495 w 417"/>
                <a:gd name="T15" fmla="*/ 15723 h 417"/>
                <a:gd name="T16" fmla="*/ 68407 w 417"/>
                <a:gd name="T17" fmla="*/ 0 h 417"/>
                <a:gd name="T18" fmla="*/ 48474 w 417"/>
                <a:gd name="T19" fmla="*/ 7637 h 417"/>
                <a:gd name="T20" fmla="*/ 40320 w 417"/>
                <a:gd name="T21" fmla="*/ 35488 h 417"/>
                <a:gd name="T22" fmla="*/ 8155 w 417"/>
                <a:gd name="T23" fmla="*/ 47617 h 417"/>
                <a:gd name="T24" fmla="*/ 0 w 417"/>
                <a:gd name="T25" fmla="*/ 63340 h 417"/>
                <a:gd name="T26" fmla="*/ 19933 w 417"/>
                <a:gd name="T27" fmla="*/ 91192 h 417"/>
                <a:gd name="T28" fmla="*/ 0 w 417"/>
                <a:gd name="T29" fmla="*/ 123536 h 417"/>
                <a:gd name="T30" fmla="*/ 8155 w 417"/>
                <a:gd name="T31" fmla="*/ 139258 h 417"/>
                <a:gd name="T32" fmla="*/ 40320 w 417"/>
                <a:gd name="T33" fmla="*/ 147344 h 417"/>
                <a:gd name="T34" fmla="*/ 48474 w 417"/>
                <a:gd name="T35" fmla="*/ 178790 h 417"/>
                <a:gd name="T36" fmla="*/ 68407 w 417"/>
                <a:gd name="T37" fmla="*/ 186876 h 417"/>
                <a:gd name="T38" fmla="*/ 96495 w 417"/>
                <a:gd name="T39" fmla="*/ 167110 h 417"/>
                <a:gd name="T40" fmla="*/ 124583 w 417"/>
                <a:gd name="T41" fmla="*/ 186876 h 417"/>
                <a:gd name="T42" fmla="*/ 144516 w 417"/>
                <a:gd name="T43" fmla="*/ 178790 h 417"/>
                <a:gd name="T44" fmla="*/ 152671 w 417"/>
                <a:gd name="T45" fmla="*/ 147344 h 417"/>
                <a:gd name="T46" fmla="*/ 184836 w 417"/>
                <a:gd name="T47" fmla="*/ 139258 h 417"/>
                <a:gd name="T48" fmla="*/ 188460 w 417"/>
                <a:gd name="T49" fmla="*/ 119043 h 417"/>
                <a:gd name="T50" fmla="*/ 172604 w 417"/>
                <a:gd name="T51" fmla="*/ 91192 h 417"/>
                <a:gd name="T52" fmla="*/ 96495 w 417"/>
                <a:gd name="T53" fmla="*/ 131172 h 417"/>
                <a:gd name="T54" fmla="*/ 96495 w 417"/>
                <a:gd name="T55" fmla="*/ 131172 h 417"/>
                <a:gd name="T56" fmla="*/ 56629 w 417"/>
                <a:gd name="T57" fmla="*/ 91192 h 417"/>
                <a:gd name="T58" fmla="*/ 96495 w 417"/>
                <a:gd name="T59" fmla="*/ 51660 h 417"/>
                <a:gd name="T60" fmla="*/ 136362 w 417"/>
                <a:gd name="T61" fmla="*/ 91192 h 417"/>
                <a:gd name="T62" fmla="*/ 96495 w 417"/>
                <a:gd name="T63" fmla="*/ 131172 h 4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17" h="417">
                  <a:moveTo>
                    <a:pt x="381" y="203"/>
                  </a:moveTo>
                  <a:lnTo>
                    <a:pt x="381" y="203"/>
                  </a:lnTo>
                  <a:cubicBezTo>
                    <a:pt x="381" y="177"/>
                    <a:pt x="399" y="159"/>
                    <a:pt x="416" y="141"/>
                  </a:cubicBezTo>
                  <a:cubicBezTo>
                    <a:pt x="416" y="132"/>
                    <a:pt x="408" y="115"/>
                    <a:pt x="408" y="106"/>
                  </a:cubicBezTo>
                  <a:cubicBezTo>
                    <a:pt x="372" y="115"/>
                    <a:pt x="354" y="97"/>
                    <a:pt x="337" y="79"/>
                  </a:cubicBezTo>
                  <a:cubicBezTo>
                    <a:pt x="319" y="62"/>
                    <a:pt x="310" y="44"/>
                    <a:pt x="319" y="17"/>
                  </a:cubicBezTo>
                  <a:cubicBezTo>
                    <a:pt x="310" y="9"/>
                    <a:pt x="293" y="0"/>
                    <a:pt x="275" y="0"/>
                  </a:cubicBezTo>
                  <a:cubicBezTo>
                    <a:pt x="266" y="17"/>
                    <a:pt x="240" y="35"/>
                    <a:pt x="213" y="35"/>
                  </a:cubicBezTo>
                  <a:cubicBezTo>
                    <a:pt x="187" y="35"/>
                    <a:pt x="160" y="17"/>
                    <a:pt x="151" y="0"/>
                  </a:cubicBezTo>
                  <a:cubicBezTo>
                    <a:pt x="133" y="0"/>
                    <a:pt x="116" y="9"/>
                    <a:pt x="107" y="17"/>
                  </a:cubicBezTo>
                  <a:cubicBezTo>
                    <a:pt x="116" y="44"/>
                    <a:pt x="107" y="62"/>
                    <a:pt x="89" y="79"/>
                  </a:cubicBezTo>
                  <a:cubicBezTo>
                    <a:pt x="72" y="97"/>
                    <a:pt x="44" y="115"/>
                    <a:pt x="18" y="106"/>
                  </a:cubicBezTo>
                  <a:cubicBezTo>
                    <a:pt x="18" y="115"/>
                    <a:pt x="9" y="132"/>
                    <a:pt x="0" y="141"/>
                  </a:cubicBezTo>
                  <a:cubicBezTo>
                    <a:pt x="27" y="159"/>
                    <a:pt x="44" y="177"/>
                    <a:pt x="44" y="203"/>
                  </a:cubicBezTo>
                  <a:cubicBezTo>
                    <a:pt x="44" y="230"/>
                    <a:pt x="27" y="256"/>
                    <a:pt x="0" y="275"/>
                  </a:cubicBezTo>
                  <a:cubicBezTo>
                    <a:pt x="9" y="283"/>
                    <a:pt x="18" y="301"/>
                    <a:pt x="18" y="310"/>
                  </a:cubicBezTo>
                  <a:cubicBezTo>
                    <a:pt x="44" y="310"/>
                    <a:pt x="72" y="310"/>
                    <a:pt x="89" y="328"/>
                  </a:cubicBezTo>
                  <a:cubicBezTo>
                    <a:pt x="107" y="345"/>
                    <a:pt x="116" y="372"/>
                    <a:pt x="107" y="398"/>
                  </a:cubicBezTo>
                  <a:cubicBezTo>
                    <a:pt x="116" y="407"/>
                    <a:pt x="133" y="407"/>
                    <a:pt x="151" y="416"/>
                  </a:cubicBezTo>
                  <a:cubicBezTo>
                    <a:pt x="160" y="389"/>
                    <a:pt x="187" y="372"/>
                    <a:pt x="213" y="372"/>
                  </a:cubicBezTo>
                  <a:cubicBezTo>
                    <a:pt x="240" y="372"/>
                    <a:pt x="266" y="389"/>
                    <a:pt x="275" y="416"/>
                  </a:cubicBezTo>
                  <a:cubicBezTo>
                    <a:pt x="293" y="407"/>
                    <a:pt x="310" y="407"/>
                    <a:pt x="319" y="398"/>
                  </a:cubicBezTo>
                  <a:cubicBezTo>
                    <a:pt x="310" y="372"/>
                    <a:pt x="319" y="345"/>
                    <a:pt x="337" y="328"/>
                  </a:cubicBezTo>
                  <a:cubicBezTo>
                    <a:pt x="354" y="310"/>
                    <a:pt x="372" y="301"/>
                    <a:pt x="408" y="310"/>
                  </a:cubicBezTo>
                  <a:cubicBezTo>
                    <a:pt x="408" y="292"/>
                    <a:pt x="416" y="283"/>
                    <a:pt x="416" y="265"/>
                  </a:cubicBezTo>
                  <a:cubicBezTo>
                    <a:pt x="399" y="256"/>
                    <a:pt x="381" y="230"/>
                    <a:pt x="381" y="203"/>
                  </a:cubicBezTo>
                  <a:close/>
                  <a:moveTo>
                    <a:pt x="213" y="292"/>
                  </a:moveTo>
                  <a:lnTo>
                    <a:pt x="213" y="292"/>
                  </a:lnTo>
                  <a:cubicBezTo>
                    <a:pt x="160" y="292"/>
                    <a:pt x="125" y="256"/>
                    <a:pt x="125" y="203"/>
                  </a:cubicBezTo>
                  <a:cubicBezTo>
                    <a:pt x="125" y="159"/>
                    <a:pt x="160" y="115"/>
                    <a:pt x="213" y="115"/>
                  </a:cubicBezTo>
                  <a:cubicBezTo>
                    <a:pt x="266" y="115"/>
                    <a:pt x="301" y="159"/>
                    <a:pt x="301" y="203"/>
                  </a:cubicBezTo>
                  <a:cubicBezTo>
                    <a:pt x="301" y="256"/>
                    <a:pt x="266" y="292"/>
                    <a:pt x="213" y="292"/>
                  </a:cubicBezTo>
                  <a:close/>
                </a:path>
              </a:pathLst>
            </a:custGeom>
            <a:solidFill>
              <a:srgbClr val="92D050"/>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sp>
          <p:nvSpPr>
            <p:cNvPr id="27" name="Rectangle 26">
              <a:extLst>
                <a:ext uri="{FF2B5EF4-FFF2-40B4-BE49-F238E27FC236}">
                  <a16:creationId xmlns:a16="http://schemas.microsoft.com/office/drawing/2014/main" id="{1B057931-EF36-7D40-A89A-14A33DBCD335}"/>
                </a:ext>
              </a:extLst>
            </p:cNvPr>
            <p:cNvSpPr/>
            <p:nvPr/>
          </p:nvSpPr>
          <p:spPr>
            <a:xfrm>
              <a:off x="7853564" y="2486649"/>
              <a:ext cx="1593444" cy="258532"/>
            </a:xfrm>
            <a:prstGeom prst="rect">
              <a:avLst/>
            </a:prstGeom>
          </p:spPr>
          <p:txBody>
            <a:bodyPr wrap="square">
              <a:spAutoFit/>
            </a:bodyPr>
            <a:lstStyle/>
            <a:p>
              <a:pPr>
                <a:lnSpc>
                  <a:spcPct val="90000"/>
                </a:lnSpc>
              </a:pPr>
              <a:r>
                <a:rPr lang="en-US" sz="1200" b="1" dirty="0">
                  <a:solidFill>
                    <a:srgbClr val="92D050"/>
                  </a:solidFill>
                </a:rPr>
                <a:t>Automation Maturity</a:t>
              </a:r>
            </a:p>
          </p:txBody>
        </p:sp>
      </p:grpSp>
    </p:spTree>
    <p:extLst>
      <p:ext uri="{BB962C8B-B14F-4D97-AF65-F5344CB8AC3E}">
        <p14:creationId xmlns:p14="http://schemas.microsoft.com/office/powerpoint/2010/main" val="604726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417F422-E19F-0043-AF03-09272D15ED09}"/>
              </a:ext>
            </a:extLst>
          </p:cNvPr>
          <p:cNvSpPr/>
          <p:nvPr/>
        </p:nvSpPr>
        <p:spPr>
          <a:xfrm>
            <a:off x="3647009"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Rounded Corners 59">
            <a:extLst>
              <a:ext uri="{FF2B5EF4-FFF2-40B4-BE49-F238E27FC236}">
                <a16:creationId xmlns:a16="http://schemas.microsoft.com/office/drawing/2014/main" id="{92549790-D2F8-47B0-9AC1-D3E3FFFE316F}"/>
              </a:ext>
            </a:extLst>
          </p:cNvPr>
          <p:cNvSpPr/>
          <p:nvPr/>
        </p:nvSpPr>
        <p:spPr>
          <a:xfrm>
            <a:off x="1809671" y="2776259"/>
            <a:ext cx="1593445" cy="406986"/>
          </a:xfrm>
          <a:prstGeom prst="roundRect">
            <a:avLst>
              <a:gd name="adj" fmla="val 50000"/>
            </a:avLst>
          </a:prstGeom>
          <a:solidFill>
            <a:schemeClr val="tx1"/>
          </a:solidFill>
          <a:ln>
            <a:solidFill>
              <a:schemeClr val="tx1"/>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Segoe UI" panose="020B0502040204020203" pitchFamily="34" charset="0"/>
                <a:ea typeface="Segoe UI" panose="020B0502040204020203" pitchFamily="34" charset="0"/>
                <a:cs typeface="Segoe UI" panose="020B0502040204020203" pitchFamily="34" charset="0"/>
              </a:rPr>
              <a:t>2017</a:t>
            </a:r>
          </a:p>
        </p:txBody>
      </p:sp>
      <p:sp>
        <p:nvSpPr>
          <p:cNvPr id="69" name="Rectangle: Rounded Corners 68">
            <a:extLst>
              <a:ext uri="{FF2B5EF4-FFF2-40B4-BE49-F238E27FC236}">
                <a16:creationId xmlns:a16="http://schemas.microsoft.com/office/drawing/2014/main" id="{F3731C01-A51D-4DB8-A447-F4E884B0EBFA}"/>
              </a:ext>
            </a:extLst>
          </p:cNvPr>
          <p:cNvSpPr/>
          <p:nvPr/>
        </p:nvSpPr>
        <p:spPr>
          <a:xfrm>
            <a:off x="3701754" y="2769545"/>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8</a:t>
            </a:r>
          </a:p>
        </p:txBody>
      </p:sp>
      <p:sp>
        <p:nvSpPr>
          <p:cNvPr id="72" name="Rectangle: Rounded Corners 71">
            <a:extLst>
              <a:ext uri="{FF2B5EF4-FFF2-40B4-BE49-F238E27FC236}">
                <a16:creationId xmlns:a16="http://schemas.microsoft.com/office/drawing/2014/main" id="{B283A46F-53C3-4FA3-890B-FACC79BF8F88}"/>
              </a:ext>
            </a:extLst>
          </p:cNvPr>
          <p:cNvSpPr/>
          <p:nvPr/>
        </p:nvSpPr>
        <p:spPr>
          <a:xfrm>
            <a:off x="5696508"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19</a:t>
            </a:r>
          </a:p>
        </p:txBody>
      </p:sp>
      <p:sp>
        <p:nvSpPr>
          <p:cNvPr id="75" name="Rectangle: Rounded Corners 74">
            <a:extLst>
              <a:ext uri="{FF2B5EF4-FFF2-40B4-BE49-F238E27FC236}">
                <a16:creationId xmlns:a16="http://schemas.microsoft.com/office/drawing/2014/main" id="{FA73C4D0-DDD8-4727-8282-8CF8773EBF11}"/>
              </a:ext>
            </a:extLst>
          </p:cNvPr>
          <p:cNvSpPr/>
          <p:nvPr/>
        </p:nvSpPr>
        <p:spPr>
          <a:xfrm>
            <a:off x="7643334" y="2776259"/>
            <a:ext cx="1593445" cy="406986"/>
          </a:xfrm>
          <a:prstGeom prst="roundRect">
            <a:avLst>
              <a:gd name="adj" fmla="val 50000"/>
            </a:avLst>
          </a:prstGeom>
          <a:solidFill>
            <a:schemeClr val="tx1"/>
          </a:solidFill>
          <a:ln>
            <a:no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0</a:t>
            </a:r>
          </a:p>
        </p:txBody>
      </p:sp>
      <p:sp>
        <p:nvSpPr>
          <p:cNvPr id="81" name="TextBox 80">
            <a:extLst>
              <a:ext uri="{FF2B5EF4-FFF2-40B4-BE49-F238E27FC236}">
                <a16:creationId xmlns:a16="http://schemas.microsoft.com/office/drawing/2014/main" id="{5C23DCAC-30B5-4B84-A2C8-3FEC1A416002}"/>
              </a:ext>
            </a:extLst>
          </p:cNvPr>
          <p:cNvSpPr txBox="1"/>
          <p:nvPr/>
        </p:nvSpPr>
        <p:spPr>
          <a:xfrm>
            <a:off x="208677" y="3457630"/>
            <a:ext cx="1441618" cy="432792"/>
          </a:xfrm>
          <a:prstGeom prst="roundRect">
            <a:avLst>
              <a:gd name="adj" fmla="val 50000"/>
            </a:avLst>
          </a:prstGeom>
          <a:solidFill>
            <a:schemeClr val="accent1"/>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People</a:t>
            </a:r>
          </a:p>
        </p:txBody>
      </p:sp>
      <p:sp>
        <p:nvSpPr>
          <p:cNvPr id="112" name="TextBox 111">
            <a:extLst>
              <a:ext uri="{FF2B5EF4-FFF2-40B4-BE49-F238E27FC236}">
                <a16:creationId xmlns:a16="http://schemas.microsoft.com/office/drawing/2014/main" id="{14A3DD07-8027-4B98-B1FA-3F5F60D64BBB}"/>
              </a:ext>
            </a:extLst>
          </p:cNvPr>
          <p:cNvSpPr txBox="1"/>
          <p:nvPr/>
        </p:nvSpPr>
        <p:spPr>
          <a:xfrm>
            <a:off x="208677" y="4738610"/>
            <a:ext cx="1441618" cy="432792"/>
          </a:xfrm>
          <a:prstGeom prst="roundRect">
            <a:avLst>
              <a:gd name="adj" fmla="val 50000"/>
            </a:avLst>
          </a:prstGeom>
          <a:solidFill>
            <a:srgbClr val="9F53ED"/>
          </a:solidFill>
          <a:ln>
            <a:solidFill>
              <a:srgbClr val="9F53ED"/>
            </a:solidFill>
          </a:ln>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est Approach</a:t>
            </a:r>
          </a:p>
        </p:txBody>
      </p:sp>
      <p:sp>
        <p:nvSpPr>
          <p:cNvPr id="118" name="TextBox 117">
            <a:extLst>
              <a:ext uri="{FF2B5EF4-FFF2-40B4-BE49-F238E27FC236}">
                <a16:creationId xmlns:a16="http://schemas.microsoft.com/office/drawing/2014/main" id="{C7794342-9C22-4241-99A6-56E9CED9F7C3}"/>
              </a:ext>
            </a:extLst>
          </p:cNvPr>
          <p:cNvSpPr txBox="1"/>
          <p:nvPr/>
        </p:nvSpPr>
        <p:spPr>
          <a:xfrm>
            <a:off x="208677" y="6098659"/>
            <a:ext cx="1441618" cy="432792"/>
          </a:xfrm>
          <a:prstGeom prst="roundRect">
            <a:avLst>
              <a:gd name="adj" fmla="val 50000"/>
            </a:avLst>
          </a:prstGeom>
          <a:solidFill>
            <a:schemeClr val="accent3"/>
          </a:solidFill>
          <a:effectLst>
            <a:outerShdw blurRad="127000" dist="38100" dir="2700000" sx="95000" sy="95000" algn="tl" rotWithShape="0">
              <a:prstClr val="black">
                <a:alpha val="30000"/>
              </a:prstClr>
            </a:outerShdw>
          </a:effectLst>
        </p:spPr>
        <p:txBody>
          <a:bodyPr wrap="square" rtlCol="0" anchor="ctr">
            <a:spAutoFit/>
          </a:bodyPr>
          <a:lstStyle/>
          <a:p>
            <a:pPr algn="ctr"/>
            <a:r>
              <a:rPr lang="en-US" sz="1400" b="1" dirty="0">
                <a:solidFill>
                  <a:schemeClr val="bg1"/>
                </a:solidFill>
              </a:rPr>
              <a:t>Tools</a:t>
            </a:r>
          </a:p>
        </p:txBody>
      </p:sp>
      <p:pic>
        <p:nvPicPr>
          <p:cNvPr id="52" name="Picture 51">
            <a:extLst>
              <a:ext uri="{FF2B5EF4-FFF2-40B4-BE49-F238E27FC236}">
                <a16:creationId xmlns:a16="http://schemas.microsoft.com/office/drawing/2014/main" id="{7B9D4ECA-83BA-EB42-A415-4E2ADD5D8FDB}"/>
              </a:ext>
            </a:extLst>
          </p:cNvPr>
          <p:cNvPicPr>
            <a:picLocks noChangeAspect="1"/>
          </p:cNvPicPr>
          <p:nvPr/>
        </p:nvPicPr>
        <p:blipFill>
          <a:blip r:embed="rId3"/>
          <a:srcRect t="31198" b="31198"/>
          <a:stretch/>
        </p:blipFill>
        <p:spPr>
          <a:xfrm>
            <a:off x="20" y="10"/>
            <a:ext cx="12191980" cy="253298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6" name="Straight Connector 15">
            <a:extLst>
              <a:ext uri="{FF2B5EF4-FFF2-40B4-BE49-F238E27FC236}">
                <a16:creationId xmlns:a16="http://schemas.microsoft.com/office/drawing/2014/main" id="{11738CF9-7D7F-BE43-8B65-6F6BD81134F2}"/>
              </a:ext>
            </a:extLst>
          </p:cNvPr>
          <p:cNvCxnSpPr>
            <a:cxnSpLocks/>
          </p:cNvCxnSpPr>
          <p:nvPr/>
        </p:nvCxnSpPr>
        <p:spPr>
          <a:xfrm>
            <a:off x="4491660"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6" name="Rectangle 55">
            <a:extLst>
              <a:ext uri="{FF2B5EF4-FFF2-40B4-BE49-F238E27FC236}">
                <a16:creationId xmlns:a16="http://schemas.microsoft.com/office/drawing/2014/main" id="{898527AF-DC86-524F-8C2F-289B645E821C}"/>
              </a:ext>
            </a:extLst>
          </p:cNvPr>
          <p:cNvSpPr/>
          <p:nvPr/>
        </p:nvSpPr>
        <p:spPr>
          <a:xfrm>
            <a:off x="5648580"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7" name="Straight Connector 56">
            <a:extLst>
              <a:ext uri="{FF2B5EF4-FFF2-40B4-BE49-F238E27FC236}">
                <a16:creationId xmlns:a16="http://schemas.microsoft.com/office/drawing/2014/main" id="{83E774EC-52E9-5B4A-A4E0-9D68BFAE8CB9}"/>
              </a:ext>
            </a:extLst>
          </p:cNvPr>
          <p:cNvCxnSpPr>
            <a:cxnSpLocks/>
          </p:cNvCxnSpPr>
          <p:nvPr/>
        </p:nvCxnSpPr>
        <p:spPr>
          <a:xfrm>
            <a:off x="6493231"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8" name="Rectangle 57">
            <a:extLst>
              <a:ext uri="{FF2B5EF4-FFF2-40B4-BE49-F238E27FC236}">
                <a16:creationId xmlns:a16="http://schemas.microsoft.com/office/drawing/2014/main" id="{FAEB72B3-D760-DB4E-B89A-F5177ADF4797}"/>
              </a:ext>
            </a:extLst>
          </p:cNvPr>
          <p:cNvSpPr/>
          <p:nvPr/>
        </p:nvSpPr>
        <p:spPr>
          <a:xfrm>
            <a:off x="7595406" y="3244277"/>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9" name="Straight Connector 58">
            <a:extLst>
              <a:ext uri="{FF2B5EF4-FFF2-40B4-BE49-F238E27FC236}">
                <a16:creationId xmlns:a16="http://schemas.microsoft.com/office/drawing/2014/main" id="{94EE696C-0CE8-3D41-9892-FEEE6E65ED46}"/>
              </a:ext>
            </a:extLst>
          </p:cNvPr>
          <p:cNvCxnSpPr>
            <a:cxnSpLocks/>
          </p:cNvCxnSpPr>
          <p:nvPr/>
        </p:nvCxnSpPr>
        <p:spPr>
          <a:xfrm>
            <a:off x="8440057" y="3244277"/>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2" name="Rectangle: Rounded Corners 74">
            <a:extLst>
              <a:ext uri="{FF2B5EF4-FFF2-40B4-BE49-F238E27FC236}">
                <a16:creationId xmlns:a16="http://schemas.microsoft.com/office/drawing/2014/main" id="{C555A392-E2F5-F647-A613-691839CB1CC4}"/>
              </a:ext>
            </a:extLst>
          </p:cNvPr>
          <p:cNvSpPr/>
          <p:nvPr/>
        </p:nvSpPr>
        <p:spPr>
          <a:xfrm>
            <a:off x="9596975" y="2776259"/>
            <a:ext cx="1593445" cy="406986"/>
          </a:xfrm>
          <a:prstGeom prst="roundRect">
            <a:avLst>
              <a:gd name="adj" fmla="val 50000"/>
            </a:avLst>
          </a:prstGeom>
          <a:solidFill>
            <a:schemeClr val="accent6"/>
          </a:solidFill>
          <a:ln>
            <a:solidFill>
              <a:schemeClr val="accent6"/>
            </a:solidFill>
          </a:ln>
          <a:effectLst>
            <a:outerShdw blurRad="266700" dist="63500" dir="2700000" sx="95000" sy="95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latin typeface="Segoe UI" panose="020B0502040204020203" pitchFamily="34" charset="0"/>
                <a:ea typeface="Segoe UI" panose="020B0502040204020203" pitchFamily="34" charset="0"/>
                <a:cs typeface="Segoe UI" panose="020B0502040204020203" pitchFamily="34" charset="0"/>
              </a:rPr>
              <a:t>2021</a:t>
            </a:r>
          </a:p>
        </p:txBody>
      </p:sp>
      <p:sp>
        <p:nvSpPr>
          <p:cNvPr id="25" name="Rectangle 24">
            <a:extLst>
              <a:ext uri="{FF2B5EF4-FFF2-40B4-BE49-F238E27FC236}">
                <a16:creationId xmlns:a16="http://schemas.microsoft.com/office/drawing/2014/main" id="{6CE7F285-D5A0-8D4D-8880-7A715189E49D}"/>
              </a:ext>
            </a:extLst>
          </p:cNvPr>
          <p:cNvSpPr/>
          <p:nvPr/>
        </p:nvSpPr>
        <p:spPr>
          <a:xfrm>
            <a:off x="1733520" y="3244276"/>
            <a:ext cx="1702933" cy="358928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Connector 25">
            <a:extLst>
              <a:ext uri="{FF2B5EF4-FFF2-40B4-BE49-F238E27FC236}">
                <a16:creationId xmlns:a16="http://schemas.microsoft.com/office/drawing/2014/main" id="{44A11452-6309-DC4E-AA50-B9357CCE81DD}"/>
              </a:ext>
            </a:extLst>
          </p:cNvPr>
          <p:cNvCxnSpPr>
            <a:cxnSpLocks/>
          </p:cNvCxnSpPr>
          <p:nvPr/>
        </p:nvCxnSpPr>
        <p:spPr>
          <a:xfrm>
            <a:off x="2578171" y="3244276"/>
            <a:ext cx="0" cy="3589283"/>
          </a:xfrm>
          <a:prstGeom prst="line">
            <a:avLst/>
          </a:prstGeom>
          <a:ln w="22225" cap="flat" cmpd="sng" algn="ctr">
            <a:solidFill>
              <a:srgbClr val="F5E33C"/>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1" name="Rectangle 20">
            <a:extLst>
              <a:ext uri="{FF2B5EF4-FFF2-40B4-BE49-F238E27FC236}">
                <a16:creationId xmlns:a16="http://schemas.microsoft.com/office/drawing/2014/main" id="{398C3567-19CC-524F-9239-B3383BCC3E13}"/>
              </a:ext>
            </a:extLst>
          </p:cNvPr>
          <p:cNvSpPr/>
          <p:nvPr/>
        </p:nvSpPr>
        <p:spPr>
          <a:xfrm>
            <a:off x="9613829" y="3379290"/>
            <a:ext cx="1702934" cy="590931"/>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chemeClr val="accent1"/>
                </a:solidFill>
              </a:rPr>
              <a:t>Created Tech lead test engineer role</a:t>
            </a:r>
          </a:p>
          <a:p>
            <a:pPr marL="171450" indent="-171450">
              <a:lnSpc>
                <a:spcPct val="90000"/>
              </a:lnSpc>
              <a:buFont typeface="Arial" panose="020B0604020202020204" pitchFamily="34" charset="0"/>
              <a:buChar char="•"/>
            </a:pPr>
            <a:r>
              <a:rPr lang="en-US" sz="1200" b="1" dirty="0">
                <a:solidFill>
                  <a:schemeClr val="accent1"/>
                </a:solidFill>
              </a:rPr>
              <a:t>Hired 5 new directs</a:t>
            </a:r>
          </a:p>
        </p:txBody>
      </p:sp>
      <p:sp>
        <p:nvSpPr>
          <p:cNvPr id="22" name="Rectangle 21">
            <a:extLst>
              <a:ext uri="{FF2B5EF4-FFF2-40B4-BE49-F238E27FC236}">
                <a16:creationId xmlns:a16="http://schemas.microsoft.com/office/drawing/2014/main" id="{12AF1219-B771-D843-B21C-413A7323959E}"/>
              </a:ext>
            </a:extLst>
          </p:cNvPr>
          <p:cNvSpPr/>
          <p:nvPr/>
        </p:nvSpPr>
        <p:spPr>
          <a:xfrm>
            <a:off x="9613829" y="4156505"/>
            <a:ext cx="1662239" cy="2086725"/>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a:solidFill>
                  <a:srgbClr val="9F53ED"/>
                </a:solidFill>
              </a:rPr>
              <a:t>CT assessment</a:t>
            </a:r>
          </a:p>
          <a:p>
            <a:pPr marL="171450" indent="-171450">
              <a:lnSpc>
                <a:spcPct val="90000"/>
              </a:lnSpc>
              <a:buFont typeface="Arial" panose="020B0604020202020204" pitchFamily="34" charset="0"/>
              <a:buChar char="•"/>
            </a:pPr>
            <a:r>
              <a:rPr lang="en-US" sz="1200" b="1" dirty="0">
                <a:solidFill>
                  <a:srgbClr val="9F53ED"/>
                </a:solidFill>
              </a:rPr>
              <a:t>Build robotics automation in POS</a:t>
            </a:r>
          </a:p>
          <a:p>
            <a:pPr marL="171450" indent="-171450">
              <a:lnSpc>
                <a:spcPct val="90000"/>
              </a:lnSpc>
              <a:buFont typeface="Arial" panose="020B0604020202020204" pitchFamily="34" charset="0"/>
              <a:buChar char="•"/>
            </a:pPr>
            <a:r>
              <a:rPr lang="en-US" sz="1200" b="1" dirty="0">
                <a:solidFill>
                  <a:srgbClr val="9F53ED"/>
                </a:solidFill>
              </a:rPr>
              <a:t>Document  test standards and processes to enterprise site</a:t>
            </a:r>
          </a:p>
          <a:p>
            <a:pPr marL="171450" indent="-171450">
              <a:lnSpc>
                <a:spcPct val="90000"/>
              </a:lnSpc>
              <a:buFont typeface="Arial" panose="020B0604020202020204" pitchFamily="34" charset="0"/>
              <a:buChar char="•"/>
            </a:pPr>
            <a:r>
              <a:rPr lang="en-US" sz="1200" b="1" dirty="0">
                <a:solidFill>
                  <a:srgbClr val="9F53ED"/>
                </a:solidFill>
              </a:rPr>
              <a:t>Established Software Quality CoP</a:t>
            </a:r>
          </a:p>
          <a:p>
            <a:pPr marL="171450" indent="-171450">
              <a:lnSpc>
                <a:spcPct val="90000"/>
              </a:lnSpc>
              <a:buFont typeface="Arial" panose="020B0604020202020204" pitchFamily="34" charset="0"/>
              <a:buChar char="•"/>
            </a:pPr>
            <a:r>
              <a:rPr lang="en-US" sz="1200" b="1" dirty="0">
                <a:solidFill>
                  <a:srgbClr val="9F53ED"/>
                </a:solidFill>
              </a:rPr>
              <a:t>Establish baseline metrics</a:t>
            </a:r>
          </a:p>
        </p:txBody>
      </p:sp>
      <p:sp>
        <p:nvSpPr>
          <p:cNvPr id="23" name="Rectangle 22">
            <a:extLst>
              <a:ext uri="{FF2B5EF4-FFF2-40B4-BE49-F238E27FC236}">
                <a16:creationId xmlns:a16="http://schemas.microsoft.com/office/drawing/2014/main" id="{41A43D19-3320-6440-A66E-9084D0998027}"/>
              </a:ext>
            </a:extLst>
          </p:cNvPr>
          <p:cNvSpPr/>
          <p:nvPr/>
        </p:nvSpPr>
        <p:spPr>
          <a:xfrm>
            <a:off x="9613829" y="6263315"/>
            <a:ext cx="1593443" cy="258532"/>
          </a:xfrm>
          <a:prstGeom prst="rect">
            <a:avLst/>
          </a:prstGeom>
        </p:spPr>
        <p:txBody>
          <a:bodyPr wrap="square">
            <a:spAutoFit/>
          </a:bodyPr>
          <a:lstStyle/>
          <a:p>
            <a:pPr marL="171450" indent="-171450">
              <a:lnSpc>
                <a:spcPct val="90000"/>
              </a:lnSpc>
              <a:buFont typeface="Arial" panose="020B0604020202020204" pitchFamily="34" charset="0"/>
              <a:buChar char="•"/>
            </a:pPr>
            <a:r>
              <a:rPr lang="en-US" sz="1200" b="1" dirty="0" err="1">
                <a:solidFill>
                  <a:schemeClr val="accent3"/>
                </a:solidFill>
              </a:rPr>
              <a:t>IntelliQA</a:t>
            </a:r>
            <a:endParaRPr lang="en-US" sz="1200" b="1" dirty="0">
              <a:solidFill>
                <a:schemeClr val="accent3"/>
              </a:solidFill>
            </a:endParaRPr>
          </a:p>
        </p:txBody>
      </p:sp>
      <p:grpSp>
        <p:nvGrpSpPr>
          <p:cNvPr id="2" name="Group 1">
            <a:extLst>
              <a:ext uri="{FF2B5EF4-FFF2-40B4-BE49-F238E27FC236}">
                <a16:creationId xmlns:a16="http://schemas.microsoft.com/office/drawing/2014/main" id="{D5CE11F9-6B71-EA48-BCC9-FCA74674AE21}"/>
              </a:ext>
            </a:extLst>
          </p:cNvPr>
          <p:cNvGrpSpPr/>
          <p:nvPr/>
        </p:nvGrpSpPr>
        <p:grpSpPr>
          <a:xfrm>
            <a:off x="9236779" y="2475637"/>
            <a:ext cx="2578150" cy="324255"/>
            <a:chOff x="9236779" y="2475637"/>
            <a:chExt cx="2578150" cy="324255"/>
          </a:xfrm>
        </p:grpSpPr>
        <p:pic>
          <p:nvPicPr>
            <p:cNvPr id="24" name="Graphic 23" descr="Cheers outline">
              <a:extLst>
                <a:ext uri="{FF2B5EF4-FFF2-40B4-BE49-F238E27FC236}">
                  <a16:creationId xmlns:a16="http://schemas.microsoft.com/office/drawing/2014/main" id="{D00E83BF-9B86-D844-8255-0503C2537FA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36779" y="2475637"/>
              <a:ext cx="324255" cy="324255"/>
            </a:xfrm>
            <a:prstGeom prst="rect">
              <a:avLst/>
            </a:prstGeom>
          </p:spPr>
        </p:pic>
        <p:sp>
          <p:nvSpPr>
            <p:cNvPr id="28" name="Rectangle 27">
              <a:extLst>
                <a:ext uri="{FF2B5EF4-FFF2-40B4-BE49-F238E27FC236}">
                  <a16:creationId xmlns:a16="http://schemas.microsoft.com/office/drawing/2014/main" id="{F70D23D7-8971-8446-A59A-4775B058CBAB}"/>
                </a:ext>
              </a:extLst>
            </p:cNvPr>
            <p:cNvSpPr/>
            <p:nvPr/>
          </p:nvSpPr>
          <p:spPr>
            <a:xfrm>
              <a:off x="9522624" y="2532993"/>
              <a:ext cx="2292305" cy="258532"/>
            </a:xfrm>
            <a:prstGeom prst="rect">
              <a:avLst/>
            </a:prstGeom>
          </p:spPr>
          <p:txBody>
            <a:bodyPr wrap="square">
              <a:spAutoFit/>
            </a:bodyPr>
            <a:lstStyle/>
            <a:p>
              <a:pPr>
                <a:lnSpc>
                  <a:spcPct val="90000"/>
                </a:lnSpc>
              </a:pPr>
              <a:r>
                <a:rPr lang="en-US" sz="1200" b="1" dirty="0">
                  <a:solidFill>
                    <a:schemeClr val="accent6"/>
                  </a:solidFill>
                </a:rPr>
                <a:t>Widespread Adoption &amp; Metrics</a:t>
              </a:r>
            </a:p>
          </p:txBody>
        </p:sp>
      </p:grpSp>
    </p:spTree>
    <p:extLst>
      <p:ext uri="{BB962C8B-B14F-4D97-AF65-F5344CB8AC3E}">
        <p14:creationId xmlns:p14="http://schemas.microsoft.com/office/powerpoint/2010/main" val="3372167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2">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2">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6FCDB-503E-F547-AE00-7E4DEDED7473}"/>
              </a:ext>
            </a:extLst>
          </p:cNvPr>
          <p:cNvSpPr>
            <a:spLocks noGrp="1"/>
          </p:cNvSpPr>
          <p:nvPr>
            <p:ph type="title"/>
          </p:nvPr>
        </p:nvSpPr>
        <p:spPr>
          <a:xfrm>
            <a:off x="481013" y="3752849"/>
            <a:ext cx="3290887" cy="2452687"/>
          </a:xfrm>
        </p:spPr>
        <p:txBody>
          <a:bodyPr anchor="ctr">
            <a:normAutofit/>
          </a:bodyPr>
          <a:lstStyle/>
          <a:p>
            <a:pPr algn="ctr"/>
            <a:r>
              <a:rPr lang="en-US" sz="3600" b="1" dirty="0"/>
              <a:t>Value to organization</a:t>
            </a:r>
          </a:p>
        </p:txBody>
      </p:sp>
      <p:pic>
        <p:nvPicPr>
          <p:cNvPr id="7" name="Picture 6" descr="A picture containing text, outdoor, sign, sky&#10;&#10;Description automatically generated">
            <a:extLst>
              <a:ext uri="{FF2B5EF4-FFF2-40B4-BE49-F238E27FC236}">
                <a16:creationId xmlns:a16="http://schemas.microsoft.com/office/drawing/2014/main" id="{A754845F-E72C-634B-851B-ACEF4A06221C}"/>
              </a:ext>
            </a:extLst>
          </p:cNvPr>
          <p:cNvPicPr>
            <a:picLocks noChangeAspect="1"/>
          </p:cNvPicPr>
          <p:nvPr/>
        </p:nvPicPr>
        <p:blipFill rotWithShape="1">
          <a:blip r:embed="rId3"/>
          <a:srcRect t="13043" b="12271"/>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BD97FEB5-4A82-F74F-A3C9-1779DB817680}"/>
              </a:ext>
            </a:extLst>
          </p:cNvPr>
          <p:cNvSpPr>
            <a:spLocks noGrp="1"/>
          </p:cNvSpPr>
          <p:nvPr>
            <p:ph idx="1"/>
          </p:nvPr>
        </p:nvSpPr>
        <p:spPr>
          <a:xfrm>
            <a:off x="4223982" y="3752850"/>
            <a:ext cx="7485413" cy="3105140"/>
          </a:xfrm>
        </p:spPr>
        <p:txBody>
          <a:bodyPr anchor="ctr">
            <a:normAutofit fontScale="85000" lnSpcReduction="20000"/>
          </a:bodyPr>
          <a:lstStyle/>
          <a:p>
            <a:r>
              <a:rPr lang="en-US" sz="1900" dirty="0"/>
              <a:t>More test coverage </a:t>
            </a:r>
          </a:p>
          <a:p>
            <a:r>
              <a:rPr lang="en-US" sz="1900" dirty="0"/>
              <a:t>Quality with speed to market</a:t>
            </a:r>
          </a:p>
          <a:p>
            <a:r>
              <a:rPr lang="en-US" sz="1900" dirty="0"/>
              <a:t>Test documentation </a:t>
            </a:r>
          </a:p>
          <a:p>
            <a:r>
              <a:rPr lang="en-US" sz="1900" dirty="0"/>
              <a:t>Capacity Planning</a:t>
            </a:r>
          </a:p>
          <a:p>
            <a:r>
              <a:rPr lang="en-US" sz="1900" dirty="0"/>
              <a:t>Cost savings </a:t>
            </a:r>
          </a:p>
          <a:p>
            <a:pPr lvl="1"/>
            <a:r>
              <a:rPr lang="en-US" sz="1900" dirty="0"/>
              <a:t>New hires </a:t>
            </a:r>
          </a:p>
          <a:p>
            <a:pPr lvl="1"/>
            <a:r>
              <a:rPr lang="en-US" sz="1900" dirty="0"/>
              <a:t>Internal Development</a:t>
            </a:r>
          </a:p>
          <a:p>
            <a:pPr lvl="1"/>
            <a:r>
              <a:rPr lang="en-US" sz="1900" dirty="0"/>
              <a:t>Shift Left</a:t>
            </a:r>
          </a:p>
          <a:p>
            <a:r>
              <a:rPr lang="en-US" sz="1900" dirty="0"/>
              <a:t>Metrics</a:t>
            </a:r>
          </a:p>
          <a:p>
            <a:pPr lvl="1"/>
            <a:r>
              <a:rPr lang="en-US" sz="1900" dirty="0"/>
              <a:t>Transparency with business</a:t>
            </a:r>
          </a:p>
          <a:p>
            <a:pPr lvl="1"/>
            <a:r>
              <a:rPr lang="en-US" sz="1900" dirty="0"/>
              <a:t>Understanding areas to focus in</a:t>
            </a:r>
          </a:p>
          <a:p>
            <a:endParaRPr lang="en-US" sz="1100" dirty="0"/>
          </a:p>
        </p:txBody>
      </p:sp>
    </p:spTree>
    <p:extLst>
      <p:ext uri="{BB962C8B-B14F-4D97-AF65-F5344CB8AC3E}">
        <p14:creationId xmlns:p14="http://schemas.microsoft.com/office/powerpoint/2010/main" val="3710508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6FCDB-503E-F547-AE00-7E4DEDED7473}"/>
              </a:ext>
            </a:extLst>
          </p:cNvPr>
          <p:cNvSpPr>
            <a:spLocks noGrp="1"/>
          </p:cNvSpPr>
          <p:nvPr>
            <p:ph type="title"/>
          </p:nvPr>
        </p:nvSpPr>
        <p:spPr>
          <a:xfrm>
            <a:off x="481013" y="3752849"/>
            <a:ext cx="3290887" cy="2452687"/>
          </a:xfrm>
        </p:spPr>
        <p:txBody>
          <a:bodyPr anchor="ctr">
            <a:normAutofit/>
          </a:bodyPr>
          <a:lstStyle/>
          <a:p>
            <a:pPr algn="ctr"/>
            <a:r>
              <a:rPr lang="en-US" sz="3600" b="1" dirty="0"/>
              <a:t>To Infinity and Beyond…</a:t>
            </a:r>
            <a:br>
              <a:rPr lang="en-US" sz="3600" b="1" dirty="0"/>
            </a:br>
            <a:br>
              <a:rPr lang="en-US" sz="3600" dirty="0"/>
            </a:br>
            <a:r>
              <a:rPr lang="en-US" sz="5400" b="1" dirty="0"/>
              <a:t>2021</a:t>
            </a:r>
          </a:p>
        </p:txBody>
      </p:sp>
      <p:pic>
        <p:nvPicPr>
          <p:cNvPr id="7" name="Picture 6">
            <a:extLst>
              <a:ext uri="{FF2B5EF4-FFF2-40B4-BE49-F238E27FC236}">
                <a16:creationId xmlns:a16="http://schemas.microsoft.com/office/drawing/2014/main" id="{A754845F-E72C-634B-851B-ACEF4A06221C}"/>
              </a:ext>
            </a:extLst>
          </p:cNvPr>
          <p:cNvPicPr>
            <a:picLocks noChangeAspect="1"/>
          </p:cNvPicPr>
          <p:nvPr/>
        </p:nvPicPr>
        <p:blipFill>
          <a:blip r:embed="rId3"/>
          <a:srcRect t="14376" b="14376"/>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BD97FEB5-4A82-F74F-A3C9-1779DB817680}"/>
              </a:ext>
            </a:extLst>
          </p:cNvPr>
          <p:cNvSpPr>
            <a:spLocks noGrp="1"/>
          </p:cNvSpPr>
          <p:nvPr>
            <p:ph idx="1"/>
          </p:nvPr>
        </p:nvSpPr>
        <p:spPr>
          <a:xfrm>
            <a:off x="4225574" y="3999985"/>
            <a:ext cx="7485413" cy="2452687"/>
          </a:xfrm>
        </p:spPr>
        <p:txBody>
          <a:bodyPr anchor="ctr">
            <a:normAutofit/>
          </a:bodyPr>
          <a:lstStyle/>
          <a:p>
            <a:r>
              <a:rPr lang="en-US" sz="1600" dirty="0"/>
              <a:t>Maturing in metrics</a:t>
            </a:r>
          </a:p>
          <a:p>
            <a:r>
              <a:rPr lang="en-US" sz="1600" dirty="0"/>
              <a:t>Performance Testing</a:t>
            </a:r>
          </a:p>
          <a:p>
            <a:r>
              <a:rPr lang="en-US" sz="1600" dirty="0"/>
              <a:t>Integrating CT into all development areas within IT</a:t>
            </a:r>
          </a:p>
          <a:p>
            <a:r>
              <a:rPr lang="en-US" sz="1600" dirty="0"/>
              <a:t>Integrating CT into production release pipelines</a:t>
            </a:r>
          </a:p>
          <a:p>
            <a:r>
              <a:rPr lang="en-US" sz="1600" dirty="0"/>
              <a:t>Integrating CT into Operations Support</a:t>
            </a:r>
          </a:p>
          <a:p>
            <a:r>
              <a:rPr lang="en-US" sz="1600" dirty="0"/>
              <a:t>Merging roles of QA and Dev to be a single role (culture shift)</a:t>
            </a:r>
          </a:p>
          <a:p>
            <a:endParaRPr lang="en-US" sz="1100" dirty="0"/>
          </a:p>
          <a:p>
            <a:endParaRPr lang="en-US" sz="1100" dirty="0"/>
          </a:p>
        </p:txBody>
      </p:sp>
    </p:spTree>
    <p:extLst>
      <p:ext uri="{BB962C8B-B14F-4D97-AF65-F5344CB8AC3E}">
        <p14:creationId xmlns:p14="http://schemas.microsoft.com/office/powerpoint/2010/main" val="2647460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6FCDB-503E-F547-AE00-7E4DEDED7473}"/>
              </a:ext>
            </a:extLst>
          </p:cNvPr>
          <p:cNvSpPr>
            <a:spLocks noGrp="1"/>
          </p:cNvSpPr>
          <p:nvPr>
            <p:ph type="title"/>
          </p:nvPr>
        </p:nvSpPr>
        <p:spPr>
          <a:xfrm>
            <a:off x="481013" y="3752849"/>
            <a:ext cx="3290887" cy="2452687"/>
          </a:xfrm>
        </p:spPr>
        <p:txBody>
          <a:bodyPr anchor="ctr">
            <a:normAutofit/>
          </a:bodyPr>
          <a:lstStyle/>
          <a:p>
            <a:pPr algn="ctr"/>
            <a:r>
              <a:rPr lang="en-US" sz="3600" b="1" dirty="0"/>
              <a:t>Tips for…</a:t>
            </a:r>
          </a:p>
        </p:txBody>
      </p:sp>
      <p:pic>
        <p:nvPicPr>
          <p:cNvPr id="7" name="Picture 6">
            <a:extLst>
              <a:ext uri="{FF2B5EF4-FFF2-40B4-BE49-F238E27FC236}">
                <a16:creationId xmlns:a16="http://schemas.microsoft.com/office/drawing/2014/main" id="{A754845F-E72C-634B-851B-ACEF4A06221C}"/>
              </a:ext>
            </a:extLst>
          </p:cNvPr>
          <p:cNvPicPr>
            <a:picLocks noChangeAspect="1"/>
          </p:cNvPicPr>
          <p:nvPr/>
        </p:nvPicPr>
        <p:blipFill>
          <a:blip r:embed="rId3"/>
          <a:srcRect t="20847" b="20847"/>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BD97FEB5-4A82-F74F-A3C9-1779DB817680}"/>
              </a:ext>
            </a:extLst>
          </p:cNvPr>
          <p:cNvSpPr>
            <a:spLocks noGrp="1"/>
          </p:cNvSpPr>
          <p:nvPr>
            <p:ph idx="1"/>
          </p:nvPr>
        </p:nvSpPr>
        <p:spPr>
          <a:xfrm>
            <a:off x="4225574" y="3571539"/>
            <a:ext cx="7485413" cy="3480665"/>
          </a:xfrm>
        </p:spPr>
        <p:txBody>
          <a:bodyPr anchor="ctr">
            <a:normAutofit fontScale="70000" lnSpcReduction="20000"/>
          </a:bodyPr>
          <a:lstStyle/>
          <a:p>
            <a:r>
              <a:rPr lang="en-US" sz="2200" dirty="0"/>
              <a:t>Create a Mission Statement</a:t>
            </a:r>
          </a:p>
          <a:p>
            <a:r>
              <a:rPr lang="en-US" sz="2200" dirty="0"/>
              <a:t>No excuses</a:t>
            </a:r>
          </a:p>
          <a:p>
            <a:r>
              <a:rPr lang="en-US" sz="2200" dirty="0"/>
              <a:t>Influencing team and gaining their buy-in </a:t>
            </a:r>
          </a:p>
          <a:p>
            <a:r>
              <a:rPr lang="en-US" sz="2200" dirty="0"/>
              <a:t>Influencing leadership on value and education on why to invest</a:t>
            </a:r>
          </a:p>
          <a:p>
            <a:r>
              <a:rPr lang="en-US" sz="2200" dirty="0"/>
              <a:t>Think big picture to establish your foundation</a:t>
            </a:r>
          </a:p>
          <a:p>
            <a:r>
              <a:rPr lang="en-US" sz="2200" dirty="0"/>
              <a:t>Establish tools that work for your product and enterprise</a:t>
            </a:r>
          </a:p>
          <a:p>
            <a:r>
              <a:rPr lang="en-US" sz="2200" dirty="0"/>
              <a:t>Go after a product that is green</a:t>
            </a:r>
          </a:p>
          <a:p>
            <a:r>
              <a:rPr lang="en-US" sz="2200" dirty="0"/>
              <a:t>Create an automation candidate checklist</a:t>
            </a:r>
          </a:p>
          <a:p>
            <a:r>
              <a:rPr lang="en-US" sz="2200" dirty="0"/>
              <a:t>Failure is success!!</a:t>
            </a:r>
          </a:p>
          <a:p>
            <a:r>
              <a:rPr lang="en-US" sz="2200" dirty="0"/>
              <a:t>Build an overall plan with small and reachable milestones (remember to celebrate them!)</a:t>
            </a:r>
          </a:p>
          <a:p>
            <a:r>
              <a:rPr lang="en-US" sz="2200" dirty="0"/>
              <a:t>Weekly/Monthly check-ins with employees and leadership</a:t>
            </a:r>
          </a:p>
          <a:p>
            <a:r>
              <a:rPr lang="en-US" sz="2200" dirty="0"/>
              <a:t>Don’t give up!</a:t>
            </a:r>
          </a:p>
          <a:p>
            <a:endParaRPr lang="en-US" sz="1100" dirty="0"/>
          </a:p>
        </p:txBody>
      </p:sp>
    </p:spTree>
    <p:extLst>
      <p:ext uri="{BB962C8B-B14F-4D97-AF65-F5344CB8AC3E}">
        <p14:creationId xmlns:p14="http://schemas.microsoft.com/office/powerpoint/2010/main" val="694343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C232B152-3720-4D3B-97ED-45CE5483F1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11BAB570-FF10-4E96-8A3F-FA9804702B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0" y="0"/>
            <a:ext cx="4693698" cy="6858000"/>
          </a:xfrm>
          <a:custGeom>
            <a:avLst/>
            <a:gdLst>
              <a:gd name="connsiteX0" fmla="*/ 0 w 4693698"/>
              <a:gd name="connsiteY0" fmla="*/ 0 h 6858000"/>
              <a:gd name="connsiteX1" fmla="*/ 420914 w 4693698"/>
              <a:gd name="connsiteY1" fmla="*/ 0 h 6858000"/>
              <a:gd name="connsiteX2" fmla="*/ 1582057 w 4693698"/>
              <a:gd name="connsiteY2" fmla="*/ 0 h 6858000"/>
              <a:gd name="connsiteX3" fmla="*/ 4503903 w 4693698"/>
              <a:gd name="connsiteY3" fmla="*/ 0 h 6858000"/>
              <a:gd name="connsiteX4" fmla="*/ 4508943 w 4693698"/>
              <a:gd name="connsiteY4" fmla="*/ 66675 h 6858000"/>
              <a:gd name="connsiteX5" fmla="*/ 4517340 w 4693698"/>
              <a:gd name="connsiteY5" fmla="*/ 122237 h 6858000"/>
              <a:gd name="connsiteX6" fmla="*/ 4527418 w 4693698"/>
              <a:gd name="connsiteY6" fmla="*/ 174625 h 6858000"/>
              <a:gd name="connsiteX7" fmla="*/ 4544214 w 4693698"/>
              <a:gd name="connsiteY7" fmla="*/ 217487 h 6858000"/>
              <a:gd name="connsiteX8" fmla="*/ 4561010 w 4693698"/>
              <a:gd name="connsiteY8" fmla="*/ 260350 h 6858000"/>
              <a:gd name="connsiteX9" fmla="*/ 4581165 w 4693698"/>
              <a:gd name="connsiteY9" fmla="*/ 296862 h 6858000"/>
              <a:gd name="connsiteX10" fmla="*/ 4601320 w 4693698"/>
              <a:gd name="connsiteY10" fmla="*/ 334962 h 6858000"/>
              <a:gd name="connsiteX11" fmla="*/ 4619796 w 4693698"/>
              <a:gd name="connsiteY11" fmla="*/ 369887 h 6858000"/>
              <a:gd name="connsiteX12" fmla="*/ 4638271 w 4693698"/>
              <a:gd name="connsiteY12" fmla="*/ 409575 h 6858000"/>
              <a:gd name="connsiteX13" fmla="*/ 4655067 w 4693698"/>
              <a:gd name="connsiteY13" fmla="*/ 450850 h 6858000"/>
              <a:gd name="connsiteX14" fmla="*/ 4670184 w 4693698"/>
              <a:gd name="connsiteY14" fmla="*/ 496887 h 6858000"/>
              <a:gd name="connsiteX15" fmla="*/ 4681941 w 4693698"/>
              <a:gd name="connsiteY15" fmla="*/ 546100 h 6858000"/>
              <a:gd name="connsiteX16" fmla="*/ 4690339 w 4693698"/>
              <a:gd name="connsiteY16" fmla="*/ 606425 h 6858000"/>
              <a:gd name="connsiteX17" fmla="*/ 4693698 w 4693698"/>
              <a:gd name="connsiteY17" fmla="*/ 673100 h 6858000"/>
              <a:gd name="connsiteX18" fmla="*/ 4690339 w 4693698"/>
              <a:gd name="connsiteY18" fmla="*/ 744537 h 6858000"/>
              <a:gd name="connsiteX19" fmla="*/ 4681941 w 4693698"/>
              <a:gd name="connsiteY19" fmla="*/ 801687 h 6858000"/>
              <a:gd name="connsiteX20" fmla="*/ 4670184 w 4693698"/>
              <a:gd name="connsiteY20" fmla="*/ 854075 h 6858000"/>
              <a:gd name="connsiteX21" fmla="*/ 4655067 w 4693698"/>
              <a:gd name="connsiteY21" fmla="*/ 901700 h 6858000"/>
              <a:gd name="connsiteX22" fmla="*/ 4638271 w 4693698"/>
              <a:gd name="connsiteY22" fmla="*/ 942975 h 6858000"/>
              <a:gd name="connsiteX23" fmla="*/ 4618116 w 4693698"/>
              <a:gd name="connsiteY23" fmla="*/ 981075 h 6858000"/>
              <a:gd name="connsiteX24" fmla="*/ 4597961 w 4693698"/>
              <a:gd name="connsiteY24" fmla="*/ 1017587 h 6858000"/>
              <a:gd name="connsiteX25" fmla="*/ 4577806 w 4693698"/>
              <a:gd name="connsiteY25" fmla="*/ 1055687 h 6858000"/>
              <a:gd name="connsiteX26" fmla="*/ 4559330 w 4693698"/>
              <a:gd name="connsiteY26" fmla="*/ 1095375 h 6858000"/>
              <a:gd name="connsiteX27" fmla="*/ 4540854 w 4693698"/>
              <a:gd name="connsiteY27" fmla="*/ 1136650 h 6858000"/>
              <a:gd name="connsiteX28" fmla="*/ 4525739 w 4693698"/>
              <a:gd name="connsiteY28" fmla="*/ 1182687 h 6858000"/>
              <a:gd name="connsiteX29" fmla="*/ 4515661 w 4693698"/>
              <a:gd name="connsiteY29" fmla="*/ 1235075 h 6858000"/>
              <a:gd name="connsiteX30" fmla="*/ 4505583 w 4693698"/>
              <a:gd name="connsiteY30" fmla="*/ 1295400 h 6858000"/>
              <a:gd name="connsiteX31" fmla="*/ 4503903 w 4693698"/>
              <a:gd name="connsiteY31" fmla="*/ 1363662 h 6858000"/>
              <a:gd name="connsiteX32" fmla="*/ 4505583 w 4693698"/>
              <a:gd name="connsiteY32" fmla="*/ 1431925 h 6858000"/>
              <a:gd name="connsiteX33" fmla="*/ 4515661 w 4693698"/>
              <a:gd name="connsiteY33" fmla="*/ 1492250 h 6858000"/>
              <a:gd name="connsiteX34" fmla="*/ 4525739 w 4693698"/>
              <a:gd name="connsiteY34" fmla="*/ 1544637 h 6858000"/>
              <a:gd name="connsiteX35" fmla="*/ 4540854 w 4693698"/>
              <a:gd name="connsiteY35" fmla="*/ 1589087 h 6858000"/>
              <a:gd name="connsiteX36" fmla="*/ 4559330 w 4693698"/>
              <a:gd name="connsiteY36" fmla="*/ 1631950 h 6858000"/>
              <a:gd name="connsiteX37" fmla="*/ 4577806 w 4693698"/>
              <a:gd name="connsiteY37" fmla="*/ 1671637 h 6858000"/>
              <a:gd name="connsiteX38" fmla="*/ 4597961 w 4693698"/>
              <a:gd name="connsiteY38" fmla="*/ 1708150 h 6858000"/>
              <a:gd name="connsiteX39" fmla="*/ 4618116 w 4693698"/>
              <a:gd name="connsiteY39" fmla="*/ 1743075 h 6858000"/>
              <a:gd name="connsiteX40" fmla="*/ 4638271 w 4693698"/>
              <a:gd name="connsiteY40" fmla="*/ 1782762 h 6858000"/>
              <a:gd name="connsiteX41" fmla="*/ 4655067 w 4693698"/>
              <a:gd name="connsiteY41" fmla="*/ 1824037 h 6858000"/>
              <a:gd name="connsiteX42" fmla="*/ 4670184 w 4693698"/>
              <a:gd name="connsiteY42" fmla="*/ 1870075 h 6858000"/>
              <a:gd name="connsiteX43" fmla="*/ 4681941 w 4693698"/>
              <a:gd name="connsiteY43" fmla="*/ 1922462 h 6858000"/>
              <a:gd name="connsiteX44" fmla="*/ 4690339 w 4693698"/>
              <a:gd name="connsiteY44" fmla="*/ 1982787 h 6858000"/>
              <a:gd name="connsiteX45" fmla="*/ 4693698 w 4693698"/>
              <a:gd name="connsiteY45" fmla="*/ 2051050 h 6858000"/>
              <a:gd name="connsiteX46" fmla="*/ 4690339 w 4693698"/>
              <a:gd name="connsiteY46" fmla="*/ 2119312 h 6858000"/>
              <a:gd name="connsiteX47" fmla="*/ 4681941 w 4693698"/>
              <a:gd name="connsiteY47" fmla="*/ 2179637 h 6858000"/>
              <a:gd name="connsiteX48" fmla="*/ 4670184 w 4693698"/>
              <a:gd name="connsiteY48" fmla="*/ 2232025 h 6858000"/>
              <a:gd name="connsiteX49" fmla="*/ 4655067 w 4693698"/>
              <a:gd name="connsiteY49" fmla="*/ 2278062 h 6858000"/>
              <a:gd name="connsiteX50" fmla="*/ 4638271 w 4693698"/>
              <a:gd name="connsiteY50" fmla="*/ 2319337 h 6858000"/>
              <a:gd name="connsiteX51" fmla="*/ 4618116 w 4693698"/>
              <a:gd name="connsiteY51" fmla="*/ 2359025 h 6858000"/>
              <a:gd name="connsiteX52" fmla="*/ 4597961 w 4693698"/>
              <a:gd name="connsiteY52" fmla="*/ 2395537 h 6858000"/>
              <a:gd name="connsiteX53" fmla="*/ 4577806 w 4693698"/>
              <a:gd name="connsiteY53" fmla="*/ 2433637 h 6858000"/>
              <a:gd name="connsiteX54" fmla="*/ 4559330 w 4693698"/>
              <a:gd name="connsiteY54" fmla="*/ 2471737 h 6858000"/>
              <a:gd name="connsiteX55" fmla="*/ 4540854 w 4693698"/>
              <a:gd name="connsiteY55" fmla="*/ 2513012 h 6858000"/>
              <a:gd name="connsiteX56" fmla="*/ 4525739 w 4693698"/>
              <a:gd name="connsiteY56" fmla="*/ 2560637 h 6858000"/>
              <a:gd name="connsiteX57" fmla="*/ 4515661 w 4693698"/>
              <a:gd name="connsiteY57" fmla="*/ 2613025 h 6858000"/>
              <a:gd name="connsiteX58" fmla="*/ 4505583 w 4693698"/>
              <a:gd name="connsiteY58" fmla="*/ 2671762 h 6858000"/>
              <a:gd name="connsiteX59" fmla="*/ 4503903 w 4693698"/>
              <a:gd name="connsiteY59" fmla="*/ 2741612 h 6858000"/>
              <a:gd name="connsiteX60" fmla="*/ 4505583 w 4693698"/>
              <a:gd name="connsiteY60" fmla="*/ 2809875 h 6858000"/>
              <a:gd name="connsiteX61" fmla="*/ 4515661 w 4693698"/>
              <a:gd name="connsiteY61" fmla="*/ 2868612 h 6858000"/>
              <a:gd name="connsiteX62" fmla="*/ 4525739 w 4693698"/>
              <a:gd name="connsiteY62" fmla="*/ 2922587 h 6858000"/>
              <a:gd name="connsiteX63" fmla="*/ 4540854 w 4693698"/>
              <a:gd name="connsiteY63" fmla="*/ 2967037 h 6858000"/>
              <a:gd name="connsiteX64" fmla="*/ 4559330 w 4693698"/>
              <a:gd name="connsiteY64" fmla="*/ 3009900 h 6858000"/>
              <a:gd name="connsiteX65" fmla="*/ 4577806 w 4693698"/>
              <a:gd name="connsiteY65" fmla="*/ 3046412 h 6858000"/>
              <a:gd name="connsiteX66" fmla="*/ 4597961 w 4693698"/>
              <a:gd name="connsiteY66" fmla="*/ 3084512 h 6858000"/>
              <a:gd name="connsiteX67" fmla="*/ 4618116 w 4693698"/>
              <a:gd name="connsiteY67" fmla="*/ 3121025 h 6858000"/>
              <a:gd name="connsiteX68" fmla="*/ 4638271 w 4693698"/>
              <a:gd name="connsiteY68" fmla="*/ 3160712 h 6858000"/>
              <a:gd name="connsiteX69" fmla="*/ 4655067 w 4693698"/>
              <a:gd name="connsiteY69" fmla="*/ 3201987 h 6858000"/>
              <a:gd name="connsiteX70" fmla="*/ 4670184 w 4693698"/>
              <a:gd name="connsiteY70" fmla="*/ 3248025 h 6858000"/>
              <a:gd name="connsiteX71" fmla="*/ 4681941 w 4693698"/>
              <a:gd name="connsiteY71" fmla="*/ 3300412 h 6858000"/>
              <a:gd name="connsiteX72" fmla="*/ 4690339 w 4693698"/>
              <a:gd name="connsiteY72" fmla="*/ 3360737 h 6858000"/>
              <a:gd name="connsiteX73" fmla="*/ 4693698 w 4693698"/>
              <a:gd name="connsiteY73" fmla="*/ 3427412 h 6858000"/>
              <a:gd name="connsiteX74" fmla="*/ 4690339 w 4693698"/>
              <a:gd name="connsiteY74" fmla="*/ 3497262 h 6858000"/>
              <a:gd name="connsiteX75" fmla="*/ 4681941 w 4693698"/>
              <a:gd name="connsiteY75" fmla="*/ 3557587 h 6858000"/>
              <a:gd name="connsiteX76" fmla="*/ 4670184 w 4693698"/>
              <a:gd name="connsiteY76" fmla="*/ 3609975 h 6858000"/>
              <a:gd name="connsiteX77" fmla="*/ 4655067 w 4693698"/>
              <a:gd name="connsiteY77" fmla="*/ 3656012 h 6858000"/>
              <a:gd name="connsiteX78" fmla="*/ 4638271 w 4693698"/>
              <a:gd name="connsiteY78" fmla="*/ 3697287 h 6858000"/>
              <a:gd name="connsiteX79" fmla="*/ 4618116 w 4693698"/>
              <a:gd name="connsiteY79" fmla="*/ 3736975 h 6858000"/>
              <a:gd name="connsiteX80" fmla="*/ 4577806 w 4693698"/>
              <a:gd name="connsiteY80" fmla="*/ 3811587 h 6858000"/>
              <a:gd name="connsiteX81" fmla="*/ 4559330 w 4693698"/>
              <a:gd name="connsiteY81" fmla="*/ 3848100 h 6858000"/>
              <a:gd name="connsiteX82" fmla="*/ 4540854 w 4693698"/>
              <a:gd name="connsiteY82" fmla="*/ 3890962 h 6858000"/>
              <a:gd name="connsiteX83" fmla="*/ 4525739 w 4693698"/>
              <a:gd name="connsiteY83" fmla="*/ 3935412 h 6858000"/>
              <a:gd name="connsiteX84" fmla="*/ 4515661 w 4693698"/>
              <a:gd name="connsiteY84" fmla="*/ 3987800 h 6858000"/>
              <a:gd name="connsiteX85" fmla="*/ 4505583 w 4693698"/>
              <a:gd name="connsiteY85" fmla="*/ 4048125 h 6858000"/>
              <a:gd name="connsiteX86" fmla="*/ 4503903 w 4693698"/>
              <a:gd name="connsiteY86" fmla="*/ 4116387 h 6858000"/>
              <a:gd name="connsiteX87" fmla="*/ 4505583 w 4693698"/>
              <a:gd name="connsiteY87" fmla="*/ 4186237 h 6858000"/>
              <a:gd name="connsiteX88" fmla="*/ 4515661 w 4693698"/>
              <a:gd name="connsiteY88" fmla="*/ 4244975 h 6858000"/>
              <a:gd name="connsiteX89" fmla="*/ 4525739 w 4693698"/>
              <a:gd name="connsiteY89" fmla="*/ 4297362 h 6858000"/>
              <a:gd name="connsiteX90" fmla="*/ 4540854 w 4693698"/>
              <a:gd name="connsiteY90" fmla="*/ 4343400 h 6858000"/>
              <a:gd name="connsiteX91" fmla="*/ 4559330 w 4693698"/>
              <a:gd name="connsiteY91" fmla="*/ 4386262 h 6858000"/>
              <a:gd name="connsiteX92" fmla="*/ 4577806 w 4693698"/>
              <a:gd name="connsiteY92" fmla="*/ 4424362 h 6858000"/>
              <a:gd name="connsiteX93" fmla="*/ 4618116 w 4693698"/>
              <a:gd name="connsiteY93" fmla="*/ 4498975 h 6858000"/>
              <a:gd name="connsiteX94" fmla="*/ 4638271 w 4693698"/>
              <a:gd name="connsiteY94" fmla="*/ 4537075 h 6858000"/>
              <a:gd name="connsiteX95" fmla="*/ 4655067 w 4693698"/>
              <a:gd name="connsiteY95" fmla="*/ 4579937 h 6858000"/>
              <a:gd name="connsiteX96" fmla="*/ 4670184 w 4693698"/>
              <a:gd name="connsiteY96" fmla="*/ 4625975 h 6858000"/>
              <a:gd name="connsiteX97" fmla="*/ 4681941 w 4693698"/>
              <a:gd name="connsiteY97" fmla="*/ 4678362 h 6858000"/>
              <a:gd name="connsiteX98" fmla="*/ 4690339 w 4693698"/>
              <a:gd name="connsiteY98" fmla="*/ 4738687 h 6858000"/>
              <a:gd name="connsiteX99" fmla="*/ 4693698 w 4693698"/>
              <a:gd name="connsiteY99" fmla="*/ 4806950 h 6858000"/>
              <a:gd name="connsiteX100" fmla="*/ 4690339 w 4693698"/>
              <a:gd name="connsiteY100" fmla="*/ 4875212 h 6858000"/>
              <a:gd name="connsiteX101" fmla="*/ 4681941 w 4693698"/>
              <a:gd name="connsiteY101" fmla="*/ 4935537 h 6858000"/>
              <a:gd name="connsiteX102" fmla="*/ 4670184 w 4693698"/>
              <a:gd name="connsiteY102" fmla="*/ 4987925 h 6858000"/>
              <a:gd name="connsiteX103" fmla="*/ 4655067 w 4693698"/>
              <a:gd name="connsiteY103" fmla="*/ 5033962 h 6858000"/>
              <a:gd name="connsiteX104" fmla="*/ 4638271 w 4693698"/>
              <a:gd name="connsiteY104" fmla="*/ 5075237 h 6858000"/>
              <a:gd name="connsiteX105" fmla="*/ 4618116 w 4693698"/>
              <a:gd name="connsiteY105" fmla="*/ 5114925 h 6858000"/>
              <a:gd name="connsiteX106" fmla="*/ 4597961 w 4693698"/>
              <a:gd name="connsiteY106" fmla="*/ 5149850 h 6858000"/>
              <a:gd name="connsiteX107" fmla="*/ 4577806 w 4693698"/>
              <a:gd name="connsiteY107" fmla="*/ 5186362 h 6858000"/>
              <a:gd name="connsiteX108" fmla="*/ 4559330 w 4693698"/>
              <a:gd name="connsiteY108" fmla="*/ 5226050 h 6858000"/>
              <a:gd name="connsiteX109" fmla="*/ 4540854 w 4693698"/>
              <a:gd name="connsiteY109" fmla="*/ 5268912 h 6858000"/>
              <a:gd name="connsiteX110" fmla="*/ 4525739 w 4693698"/>
              <a:gd name="connsiteY110" fmla="*/ 5313362 h 6858000"/>
              <a:gd name="connsiteX111" fmla="*/ 4515661 w 4693698"/>
              <a:gd name="connsiteY111" fmla="*/ 5365750 h 6858000"/>
              <a:gd name="connsiteX112" fmla="*/ 4505583 w 4693698"/>
              <a:gd name="connsiteY112" fmla="*/ 5426075 h 6858000"/>
              <a:gd name="connsiteX113" fmla="*/ 4503903 w 4693698"/>
              <a:gd name="connsiteY113" fmla="*/ 5494337 h 6858000"/>
              <a:gd name="connsiteX114" fmla="*/ 4505583 w 4693698"/>
              <a:gd name="connsiteY114" fmla="*/ 5562600 h 6858000"/>
              <a:gd name="connsiteX115" fmla="*/ 4515661 w 4693698"/>
              <a:gd name="connsiteY115" fmla="*/ 5622925 h 6858000"/>
              <a:gd name="connsiteX116" fmla="*/ 4525739 w 4693698"/>
              <a:gd name="connsiteY116" fmla="*/ 5675312 h 6858000"/>
              <a:gd name="connsiteX117" fmla="*/ 4540854 w 4693698"/>
              <a:gd name="connsiteY117" fmla="*/ 5721350 h 6858000"/>
              <a:gd name="connsiteX118" fmla="*/ 4559330 w 4693698"/>
              <a:gd name="connsiteY118" fmla="*/ 5762625 h 6858000"/>
              <a:gd name="connsiteX119" fmla="*/ 4577806 w 4693698"/>
              <a:gd name="connsiteY119" fmla="*/ 5802312 h 6858000"/>
              <a:gd name="connsiteX120" fmla="*/ 4597961 w 4693698"/>
              <a:gd name="connsiteY120" fmla="*/ 5840412 h 6858000"/>
              <a:gd name="connsiteX121" fmla="*/ 4618116 w 4693698"/>
              <a:gd name="connsiteY121" fmla="*/ 5876925 h 6858000"/>
              <a:gd name="connsiteX122" fmla="*/ 4638271 w 4693698"/>
              <a:gd name="connsiteY122" fmla="*/ 5915025 h 6858000"/>
              <a:gd name="connsiteX123" fmla="*/ 4655067 w 4693698"/>
              <a:gd name="connsiteY123" fmla="*/ 5956300 h 6858000"/>
              <a:gd name="connsiteX124" fmla="*/ 4670184 w 4693698"/>
              <a:gd name="connsiteY124" fmla="*/ 6003925 h 6858000"/>
              <a:gd name="connsiteX125" fmla="*/ 4681941 w 4693698"/>
              <a:gd name="connsiteY125" fmla="*/ 6056312 h 6858000"/>
              <a:gd name="connsiteX126" fmla="*/ 4690339 w 4693698"/>
              <a:gd name="connsiteY126" fmla="*/ 6113462 h 6858000"/>
              <a:gd name="connsiteX127" fmla="*/ 4693698 w 4693698"/>
              <a:gd name="connsiteY127" fmla="*/ 6183312 h 6858000"/>
              <a:gd name="connsiteX128" fmla="*/ 4690339 w 4693698"/>
              <a:gd name="connsiteY128" fmla="*/ 6251575 h 6858000"/>
              <a:gd name="connsiteX129" fmla="*/ 4681941 w 4693698"/>
              <a:gd name="connsiteY129" fmla="*/ 6311900 h 6858000"/>
              <a:gd name="connsiteX130" fmla="*/ 4670184 w 4693698"/>
              <a:gd name="connsiteY130" fmla="*/ 6361112 h 6858000"/>
              <a:gd name="connsiteX131" fmla="*/ 4655067 w 4693698"/>
              <a:gd name="connsiteY131" fmla="*/ 6407150 h 6858000"/>
              <a:gd name="connsiteX132" fmla="*/ 4638271 w 4693698"/>
              <a:gd name="connsiteY132" fmla="*/ 6448425 h 6858000"/>
              <a:gd name="connsiteX133" fmla="*/ 4619796 w 4693698"/>
              <a:gd name="connsiteY133" fmla="*/ 6488112 h 6858000"/>
              <a:gd name="connsiteX134" fmla="*/ 4601320 w 4693698"/>
              <a:gd name="connsiteY134" fmla="*/ 6523037 h 6858000"/>
              <a:gd name="connsiteX135" fmla="*/ 4581165 w 4693698"/>
              <a:gd name="connsiteY135" fmla="*/ 6561137 h 6858000"/>
              <a:gd name="connsiteX136" fmla="*/ 4561010 w 4693698"/>
              <a:gd name="connsiteY136" fmla="*/ 6597650 h 6858000"/>
              <a:gd name="connsiteX137" fmla="*/ 4544214 w 4693698"/>
              <a:gd name="connsiteY137" fmla="*/ 6640512 h 6858000"/>
              <a:gd name="connsiteX138" fmla="*/ 4527418 w 4693698"/>
              <a:gd name="connsiteY138" fmla="*/ 6683375 h 6858000"/>
              <a:gd name="connsiteX139" fmla="*/ 4517340 w 4693698"/>
              <a:gd name="connsiteY139" fmla="*/ 6735762 h 6858000"/>
              <a:gd name="connsiteX140" fmla="*/ 4508943 w 4693698"/>
              <a:gd name="connsiteY140" fmla="*/ 6791325 h 6858000"/>
              <a:gd name="connsiteX141" fmla="*/ 4503903 w 4693698"/>
              <a:gd name="connsiteY141" fmla="*/ 6858000 h 6858000"/>
              <a:gd name="connsiteX142" fmla="*/ 1582057 w 4693698"/>
              <a:gd name="connsiteY142" fmla="*/ 6858000 h 6858000"/>
              <a:gd name="connsiteX143" fmla="*/ 420914 w 4693698"/>
              <a:gd name="connsiteY143" fmla="*/ 6858000 h 6858000"/>
              <a:gd name="connsiteX144" fmla="*/ 0 w 4693698"/>
              <a:gd name="connsiteY14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693698" h="6858000">
                <a:moveTo>
                  <a:pt x="0" y="0"/>
                </a:moveTo>
                <a:lnTo>
                  <a:pt x="420914" y="0"/>
                </a:lnTo>
                <a:lnTo>
                  <a:pt x="1582057" y="0"/>
                </a:lnTo>
                <a:lnTo>
                  <a:pt x="4503903" y="0"/>
                </a:lnTo>
                <a:lnTo>
                  <a:pt x="4508943" y="66675"/>
                </a:lnTo>
                <a:lnTo>
                  <a:pt x="4517340" y="122237"/>
                </a:lnTo>
                <a:lnTo>
                  <a:pt x="4527418" y="174625"/>
                </a:lnTo>
                <a:lnTo>
                  <a:pt x="4544214" y="217487"/>
                </a:lnTo>
                <a:lnTo>
                  <a:pt x="4561010" y="260350"/>
                </a:lnTo>
                <a:lnTo>
                  <a:pt x="4581165" y="296862"/>
                </a:lnTo>
                <a:lnTo>
                  <a:pt x="4601320" y="334962"/>
                </a:lnTo>
                <a:lnTo>
                  <a:pt x="4619796" y="369887"/>
                </a:lnTo>
                <a:lnTo>
                  <a:pt x="4638271" y="409575"/>
                </a:lnTo>
                <a:lnTo>
                  <a:pt x="4655067" y="450850"/>
                </a:lnTo>
                <a:lnTo>
                  <a:pt x="4670184" y="496887"/>
                </a:lnTo>
                <a:lnTo>
                  <a:pt x="4681941" y="546100"/>
                </a:lnTo>
                <a:lnTo>
                  <a:pt x="4690339" y="606425"/>
                </a:lnTo>
                <a:lnTo>
                  <a:pt x="4693698" y="673100"/>
                </a:lnTo>
                <a:lnTo>
                  <a:pt x="4690339" y="744537"/>
                </a:lnTo>
                <a:lnTo>
                  <a:pt x="4681941" y="801687"/>
                </a:lnTo>
                <a:lnTo>
                  <a:pt x="4670184" y="854075"/>
                </a:lnTo>
                <a:lnTo>
                  <a:pt x="4655067" y="901700"/>
                </a:lnTo>
                <a:lnTo>
                  <a:pt x="4638271" y="942975"/>
                </a:lnTo>
                <a:lnTo>
                  <a:pt x="4618116" y="981075"/>
                </a:lnTo>
                <a:lnTo>
                  <a:pt x="4597961" y="1017587"/>
                </a:lnTo>
                <a:lnTo>
                  <a:pt x="4577806" y="1055687"/>
                </a:lnTo>
                <a:lnTo>
                  <a:pt x="4559330" y="1095375"/>
                </a:lnTo>
                <a:lnTo>
                  <a:pt x="4540854" y="1136650"/>
                </a:lnTo>
                <a:lnTo>
                  <a:pt x="4525739" y="1182687"/>
                </a:lnTo>
                <a:lnTo>
                  <a:pt x="4515661" y="1235075"/>
                </a:lnTo>
                <a:lnTo>
                  <a:pt x="4505583" y="1295400"/>
                </a:lnTo>
                <a:lnTo>
                  <a:pt x="4503903" y="1363662"/>
                </a:lnTo>
                <a:lnTo>
                  <a:pt x="4505583" y="1431925"/>
                </a:lnTo>
                <a:lnTo>
                  <a:pt x="4515661" y="1492250"/>
                </a:lnTo>
                <a:lnTo>
                  <a:pt x="4525739" y="1544637"/>
                </a:lnTo>
                <a:lnTo>
                  <a:pt x="4540854" y="1589087"/>
                </a:lnTo>
                <a:lnTo>
                  <a:pt x="4559330" y="1631950"/>
                </a:lnTo>
                <a:lnTo>
                  <a:pt x="4577806" y="1671637"/>
                </a:lnTo>
                <a:lnTo>
                  <a:pt x="4597961" y="1708150"/>
                </a:lnTo>
                <a:lnTo>
                  <a:pt x="4618116" y="1743075"/>
                </a:lnTo>
                <a:lnTo>
                  <a:pt x="4638271" y="1782762"/>
                </a:lnTo>
                <a:lnTo>
                  <a:pt x="4655067" y="1824037"/>
                </a:lnTo>
                <a:lnTo>
                  <a:pt x="4670184" y="1870075"/>
                </a:lnTo>
                <a:lnTo>
                  <a:pt x="4681941" y="1922462"/>
                </a:lnTo>
                <a:lnTo>
                  <a:pt x="4690339" y="1982787"/>
                </a:lnTo>
                <a:lnTo>
                  <a:pt x="4693698" y="2051050"/>
                </a:lnTo>
                <a:lnTo>
                  <a:pt x="4690339" y="2119312"/>
                </a:lnTo>
                <a:lnTo>
                  <a:pt x="4681941" y="2179637"/>
                </a:lnTo>
                <a:lnTo>
                  <a:pt x="4670184" y="2232025"/>
                </a:lnTo>
                <a:lnTo>
                  <a:pt x="4655067" y="2278062"/>
                </a:lnTo>
                <a:lnTo>
                  <a:pt x="4638271" y="2319337"/>
                </a:lnTo>
                <a:lnTo>
                  <a:pt x="4618116" y="2359025"/>
                </a:lnTo>
                <a:lnTo>
                  <a:pt x="4597961" y="2395537"/>
                </a:lnTo>
                <a:lnTo>
                  <a:pt x="4577806" y="2433637"/>
                </a:lnTo>
                <a:lnTo>
                  <a:pt x="4559330" y="2471737"/>
                </a:lnTo>
                <a:lnTo>
                  <a:pt x="4540854" y="2513012"/>
                </a:lnTo>
                <a:lnTo>
                  <a:pt x="4525739" y="2560637"/>
                </a:lnTo>
                <a:lnTo>
                  <a:pt x="4515661" y="2613025"/>
                </a:lnTo>
                <a:lnTo>
                  <a:pt x="4505583" y="2671762"/>
                </a:lnTo>
                <a:lnTo>
                  <a:pt x="4503903" y="2741612"/>
                </a:lnTo>
                <a:lnTo>
                  <a:pt x="4505583" y="2809875"/>
                </a:lnTo>
                <a:lnTo>
                  <a:pt x="4515661" y="2868612"/>
                </a:lnTo>
                <a:lnTo>
                  <a:pt x="4525739" y="2922587"/>
                </a:lnTo>
                <a:lnTo>
                  <a:pt x="4540854" y="2967037"/>
                </a:lnTo>
                <a:lnTo>
                  <a:pt x="4559330" y="3009900"/>
                </a:lnTo>
                <a:lnTo>
                  <a:pt x="4577806" y="3046412"/>
                </a:lnTo>
                <a:lnTo>
                  <a:pt x="4597961" y="3084512"/>
                </a:lnTo>
                <a:lnTo>
                  <a:pt x="4618116" y="3121025"/>
                </a:lnTo>
                <a:lnTo>
                  <a:pt x="4638271" y="3160712"/>
                </a:lnTo>
                <a:lnTo>
                  <a:pt x="4655067" y="3201987"/>
                </a:lnTo>
                <a:lnTo>
                  <a:pt x="4670184" y="3248025"/>
                </a:lnTo>
                <a:lnTo>
                  <a:pt x="4681941" y="3300412"/>
                </a:lnTo>
                <a:lnTo>
                  <a:pt x="4690339" y="3360737"/>
                </a:lnTo>
                <a:lnTo>
                  <a:pt x="4693698" y="3427412"/>
                </a:lnTo>
                <a:lnTo>
                  <a:pt x="4690339" y="3497262"/>
                </a:lnTo>
                <a:lnTo>
                  <a:pt x="4681941" y="3557587"/>
                </a:lnTo>
                <a:lnTo>
                  <a:pt x="4670184" y="3609975"/>
                </a:lnTo>
                <a:lnTo>
                  <a:pt x="4655067" y="3656012"/>
                </a:lnTo>
                <a:lnTo>
                  <a:pt x="4638271" y="3697287"/>
                </a:lnTo>
                <a:lnTo>
                  <a:pt x="4618116" y="3736975"/>
                </a:lnTo>
                <a:lnTo>
                  <a:pt x="4577806" y="3811587"/>
                </a:lnTo>
                <a:lnTo>
                  <a:pt x="4559330" y="3848100"/>
                </a:lnTo>
                <a:lnTo>
                  <a:pt x="4540854" y="3890962"/>
                </a:lnTo>
                <a:lnTo>
                  <a:pt x="4525739" y="3935412"/>
                </a:lnTo>
                <a:lnTo>
                  <a:pt x="4515661" y="3987800"/>
                </a:lnTo>
                <a:lnTo>
                  <a:pt x="4505583" y="4048125"/>
                </a:lnTo>
                <a:lnTo>
                  <a:pt x="4503903" y="4116387"/>
                </a:lnTo>
                <a:lnTo>
                  <a:pt x="4505583" y="4186237"/>
                </a:lnTo>
                <a:lnTo>
                  <a:pt x="4515661" y="4244975"/>
                </a:lnTo>
                <a:lnTo>
                  <a:pt x="4525739" y="4297362"/>
                </a:lnTo>
                <a:lnTo>
                  <a:pt x="4540854" y="4343400"/>
                </a:lnTo>
                <a:lnTo>
                  <a:pt x="4559330" y="4386262"/>
                </a:lnTo>
                <a:lnTo>
                  <a:pt x="4577806" y="4424362"/>
                </a:lnTo>
                <a:lnTo>
                  <a:pt x="4618116" y="4498975"/>
                </a:lnTo>
                <a:lnTo>
                  <a:pt x="4638271" y="4537075"/>
                </a:lnTo>
                <a:lnTo>
                  <a:pt x="4655067" y="4579937"/>
                </a:lnTo>
                <a:lnTo>
                  <a:pt x="4670184" y="4625975"/>
                </a:lnTo>
                <a:lnTo>
                  <a:pt x="4681941" y="4678362"/>
                </a:lnTo>
                <a:lnTo>
                  <a:pt x="4690339" y="4738687"/>
                </a:lnTo>
                <a:lnTo>
                  <a:pt x="4693698" y="4806950"/>
                </a:lnTo>
                <a:lnTo>
                  <a:pt x="4690339" y="4875212"/>
                </a:lnTo>
                <a:lnTo>
                  <a:pt x="4681941" y="4935537"/>
                </a:lnTo>
                <a:lnTo>
                  <a:pt x="4670184" y="4987925"/>
                </a:lnTo>
                <a:lnTo>
                  <a:pt x="4655067" y="5033962"/>
                </a:lnTo>
                <a:lnTo>
                  <a:pt x="4638271" y="5075237"/>
                </a:lnTo>
                <a:lnTo>
                  <a:pt x="4618116" y="5114925"/>
                </a:lnTo>
                <a:lnTo>
                  <a:pt x="4597961" y="5149850"/>
                </a:lnTo>
                <a:lnTo>
                  <a:pt x="4577806" y="5186362"/>
                </a:lnTo>
                <a:lnTo>
                  <a:pt x="4559330" y="5226050"/>
                </a:lnTo>
                <a:lnTo>
                  <a:pt x="4540854" y="5268912"/>
                </a:lnTo>
                <a:lnTo>
                  <a:pt x="4525739" y="5313362"/>
                </a:lnTo>
                <a:lnTo>
                  <a:pt x="4515661" y="5365750"/>
                </a:lnTo>
                <a:lnTo>
                  <a:pt x="4505583" y="5426075"/>
                </a:lnTo>
                <a:lnTo>
                  <a:pt x="4503903" y="5494337"/>
                </a:lnTo>
                <a:lnTo>
                  <a:pt x="4505583" y="5562600"/>
                </a:lnTo>
                <a:lnTo>
                  <a:pt x="4515661" y="5622925"/>
                </a:lnTo>
                <a:lnTo>
                  <a:pt x="4525739" y="5675312"/>
                </a:lnTo>
                <a:lnTo>
                  <a:pt x="4540854" y="5721350"/>
                </a:lnTo>
                <a:lnTo>
                  <a:pt x="4559330" y="5762625"/>
                </a:lnTo>
                <a:lnTo>
                  <a:pt x="4577806" y="5802312"/>
                </a:lnTo>
                <a:lnTo>
                  <a:pt x="4597961" y="5840412"/>
                </a:lnTo>
                <a:lnTo>
                  <a:pt x="4618116" y="5876925"/>
                </a:lnTo>
                <a:lnTo>
                  <a:pt x="4638271" y="5915025"/>
                </a:lnTo>
                <a:lnTo>
                  <a:pt x="4655067" y="5956300"/>
                </a:lnTo>
                <a:lnTo>
                  <a:pt x="4670184" y="6003925"/>
                </a:lnTo>
                <a:lnTo>
                  <a:pt x="4681941" y="6056312"/>
                </a:lnTo>
                <a:lnTo>
                  <a:pt x="4690339" y="6113462"/>
                </a:lnTo>
                <a:lnTo>
                  <a:pt x="4693698" y="6183312"/>
                </a:lnTo>
                <a:lnTo>
                  <a:pt x="4690339" y="6251575"/>
                </a:lnTo>
                <a:lnTo>
                  <a:pt x="4681941" y="6311900"/>
                </a:lnTo>
                <a:lnTo>
                  <a:pt x="4670184" y="6361112"/>
                </a:lnTo>
                <a:lnTo>
                  <a:pt x="4655067" y="6407150"/>
                </a:lnTo>
                <a:lnTo>
                  <a:pt x="4638271" y="6448425"/>
                </a:lnTo>
                <a:lnTo>
                  <a:pt x="4619796" y="6488112"/>
                </a:lnTo>
                <a:lnTo>
                  <a:pt x="4601320" y="6523037"/>
                </a:lnTo>
                <a:lnTo>
                  <a:pt x="4581165" y="6561137"/>
                </a:lnTo>
                <a:lnTo>
                  <a:pt x="4561010" y="6597650"/>
                </a:lnTo>
                <a:lnTo>
                  <a:pt x="4544214" y="6640512"/>
                </a:lnTo>
                <a:lnTo>
                  <a:pt x="4527418" y="6683375"/>
                </a:lnTo>
                <a:lnTo>
                  <a:pt x="4517340" y="6735762"/>
                </a:lnTo>
                <a:lnTo>
                  <a:pt x="4508943" y="6791325"/>
                </a:lnTo>
                <a:lnTo>
                  <a:pt x="4503903" y="6858000"/>
                </a:lnTo>
                <a:lnTo>
                  <a:pt x="1582057" y="6858000"/>
                </a:lnTo>
                <a:lnTo>
                  <a:pt x="420914" y="6858000"/>
                </a:lnTo>
                <a:lnTo>
                  <a:pt x="0" y="6858000"/>
                </a:lnTo>
                <a:close/>
              </a:path>
            </a:pathLst>
          </a:custGeom>
          <a:solidFill>
            <a:schemeClr val="tx1"/>
          </a:solidFill>
          <a:ln w="0">
            <a:noFill/>
            <a:prstDash val="solid"/>
            <a:round/>
            <a:headEnd/>
            <a:tailEnd/>
          </a:ln>
        </p:spPr>
        <p:txBody>
          <a:bodyPr wrap="square">
            <a:noAutofit/>
          </a:bodyPr>
          <a:lstStyle/>
          <a:p>
            <a:endParaRPr lang="en-US" dirty="0"/>
          </a:p>
        </p:txBody>
      </p:sp>
      <p:sp>
        <p:nvSpPr>
          <p:cNvPr id="21" name="Freeform: Shape 20">
            <a:extLst>
              <a:ext uri="{FF2B5EF4-FFF2-40B4-BE49-F238E27FC236}">
                <a16:creationId xmlns:a16="http://schemas.microsoft.com/office/drawing/2014/main" id="{4B9FAFB2-BEB5-4848-8018-BCAD99E2E1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4838076" cy="6858000"/>
          </a:xfrm>
          <a:custGeom>
            <a:avLst/>
            <a:gdLst>
              <a:gd name="connsiteX0" fmla="*/ 4838076 w 4838076"/>
              <a:gd name="connsiteY0" fmla="*/ 0 h 6858000"/>
              <a:gd name="connsiteX1" fmla="*/ 4417162 w 4838076"/>
              <a:gd name="connsiteY1" fmla="*/ 0 h 6858000"/>
              <a:gd name="connsiteX2" fmla="*/ 3459219 w 4838076"/>
              <a:gd name="connsiteY2" fmla="*/ 0 h 6858000"/>
              <a:gd name="connsiteX3" fmla="*/ 334174 w 4838076"/>
              <a:gd name="connsiteY3" fmla="*/ 0 h 6858000"/>
              <a:gd name="connsiteX4" fmla="*/ 334173 w 4838076"/>
              <a:gd name="connsiteY4" fmla="*/ 0 h 6858000"/>
              <a:gd name="connsiteX5" fmla="*/ 189795 w 4838076"/>
              <a:gd name="connsiteY5" fmla="*/ 0 h 6858000"/>
              <a:gd name="connsiteX6" fmla="*/ 184756 w 4838076"/>
              <a:gd name="connsiteY6" fmla="*/ 66675 h 6858000"/>
              <a:gd name="connsiteX7" fmla="*/ 176358 w 4838076"/>
              <a:gd name="connsiteY7" fmla="*/ 122237 h 6858000"/>
              <a:gd name="connsiteX8" fmla="*/ 166281 w 4838076"/>
              <a:gd name="connsiteY8" fmla="*/ 174625 h 6858000"/>
              <a:gd name="connsiteX9" fmla="*/ 149485 w 4838076"/>
              <a:gd name="connsiteY9" fmla="*/ 217487 h 6858000"/>
              <a:gd name="connsiteX10" fmla="*/ 132689 w 4838076"/>
              <a:gd name="connsiteY10" fmla="*/ 260350 h 6858000"/>
              <a:gd name="connsiteX11" fmla="*/ 112534 w 4838076"/>
              <a:gd name="connsiteY11" fmla="*/ 296862 h 6858000"/>
              <a:gd name="connsiteX12" fmla="*/ 92379 w 4838076"/>
              <a:gd name="connsiteY12" fmla="*/ 334962 h 6858000"/>
              <a:gd name="connsiteX13" fmla="*/ 73903 w 4838076"/>
              <a:gd name="connsiteY13" fmla="*/ 369887 h 6858000"/>
              <a:gd name="connsiteX14" fmla="*/ 55427 w 4838076"/>
              <a:gd name="connsiteY14" fmla="*/ 409575 h 6858000"/>
              <a:gd name="connsiteX15" fmla="*/ 38632 w 4838076"/>
              <a:gd name="connsiteY15" fmla="*/ 450850 h 6858000"/>
              <a:gd name="connsiteX16" fmla="*/ 23515 w 4838076"/>
              <a:gd name="connsiteY16" fmla="*/ 496887 h 6858000"/>
              <a:gd name="connsiteX17" fmla="*/ 11758 w 4838076"/>
              <a:gd name="connsiteY17" fmla="*/ 546100 h 6858000"/>
              <a:gd name="connsiteX18" fmla="*/ 3359 w 4838076"/>
              <a:gd name="connsiteY18" fmla="*/ 606425 h 6858000"/>
              <a:gd name="connsiteX19" fmla="*/ 0 w 4838076"/>
              <a:gd name="connsiteY19" fmla="*/ 673100 h 6858000"/>
              <a:gd name="connsiteX20" fmla="*/ 3359 w 4838076"/>
              <a:gd name="connsiteY20" fmla="*/ 744537 h 6858000"/>
              <a:gd name="connsiteX21" fmla="*/ 11758 w 4838076"/>
              <a:gd name="connsiteY21" fmla="*/ 801687 h 6858000"/>
              <a:gd name="connsiteX22" fmla="*/ 23515 w 4838076"/>
              <a:gd name="connsiteY22" fmla="*/ 854075 h 6858000"/>
              <a:gd name="connsiteX23" fmla="*/ 38632 w 4838076"/>
              <a:gd name="connsiteY23" fmla="*/ 901700 h 6858000"/>
              <a:gd name="connsiteX24" fmla="*/ 55427 w 4838076"/>
              <a:gd name="connsiteY24" fmla="*/ 942975 h 6858000"/>
              <a:gd name="connsiteX25" fmla="*/ 75583 w 4838076"/>
              <a:gd name="connsiteY25" fmla="*/ 981075 h 6858000"/>
              <a:gd name="connsiteX26" fmla="*/ 95738 w 4838076"/>
              <a:gd name="connsiteY26" fmla="*/ 1017587 h 6858000"/>
              <a:gd name="connsiteX27" fmla="*/ 115893 w 4838076"/>
              <a:gd name="connsiteY27" fmla="*/ 1055687 h 6858000"/>
              <a:gd name="connsiteX28" fmla="*/ 134368 w 4838076"/>
              <a:gd name="connsiteY28" fmla="*/ 1095375 h 6858000"/>
              <a:gd name="connsiteX29" fmla="*/ 152844 w 4838076"/>
              <a:gd name="connsiteY29" fmla="*/ 1136650 h 6858000"/>
              <a:gd name="connsiteX30" fmla="*/ 167960 w 4838076"/>
              <a:gd name="connsiteY30" fmla="*/ 1182687 h 6858000"/>
              <a:gd name="connsiteX31" fmla="*/ 178038 w 4838076"/>
              <a:gd name="connsiteY31" fmla="*/ 1235075 h 6858000"/>
              <a:gd name="connsiteX32" fmla="*/ 188115 w 4838076"/>
              <a:gd name="connsiteY32" fmla="*/ 1295400 h 6858000"/>
              <a:gd name="connsiteX33" fmla="*/ 189795 w 4838076"/>
              <a:gd name="connsiteY33" fmla="*/ 1363662 h 6858000"/>
              <a:gd name="connsiteX34" fmla="*/ 188115 w 4838076"/>
              <a:gd name="connsiteY34" fmla="*/ 1431925 h 6858000"/>
              <a:gd name="connsiteX35" fmla="*/ 178038 w 4838076"/>
              <a:gd name="connsiteY35" fmla="*/ 1492250 h 6858000"/>
              <a:gd name="connsiteX36" fmla="*/ 167960 w 4838076"/>
              <a:gd name="connsiteY36" fmla="*/ 1544637 h 6858000"/>
              <a:gd name="connsiteX37" fmla="*/ 152844 w 4838076"/>
              <a:gd name="connsiteY37" fmla="*/ 1589087 h 6858000"/>
              <a:gd name="connsiteX38" fmla="*/ 134368 w 4838076"/>
              <a:gd name="connsiteY38" fmla="*/ 1631950 h 6858000"/>
              <a:gd name="connsiteX39" fmla="*/ 115893 w 4838076"/>
              <a:gd name="connsiteY39" fmla="*/ 1671637 h 6858000"/>
              <a:gd name="connsiteX40" fmla="*/ 95738 w 4838076"/>
              <a:gd name="connsiteY40" fmla="*/ 1708150 h 6858000"/>
              <a:gd name="connsiteX41" fmla="*/ 75583 w 4838076"/>
              <a:gd name="connsiteY41" fmla="*/ 1743075 h 6858000"/>
              <a:gd name="connsiteX42" fmla="*/ 55427 w 4838076"/>
              <a:gd name="connsiteY42" fmla="*/ 1782762 h 6858000"/>
              <a:gd name="connsiteX43" fmla="*/ 38632 w 4838076"/>
              <a:gd name="connsiteY43" fmla="*/ 1824037 h 6858000"/>
              <a:gd name="connsiteX44" fmla="*/ 23515 w 4838076"/>
              <a:gd name="connsiteY44" fmla="*/ 1870075 h 6858000"/>
              <a:gd name="connsiteX45" fmla="*/ 11758 w 4838076"/>
              <a:gd name="connsiteY45" fmla="*/ 1922462 h 6858000"/>
              <a:gd name="connsiteX46" fmla="*/ 3359 w 4838076"/>
              <a:gd name="connsiteY46" fmla="*/ 1982787 h 6858000"/>
              <a:gd name="connsiteX47" fmla="*/ 0 w 4838076"/>
              <a:gd name="connsiteY47" fmla="*/ 2051050 h 6858000"/>
              <a:gd name="connsiteX48" fmla="*/ 3359 w 4838076"/>
              <a:gd name="connsiteY48" fmla="*/ 2119312 h 6858000"/>
              <a:gd name="connsiteX49" fmla="*/ 11758 w 4838076"/>
              <a:gd name="connsiteY49" fmla="*/ 2179637 h 6858000"/>
              <a:gd name="connsiteX50" fmla="*/ 23515 w 4838076"/>
              <a:gd name="connsiteY50" fmla="*/ 2232025 h 6858000"/>
              <a:gd name="connsiteX51" fmla="*/ 38632 w 4838076"/>
              <a:gd name="connsiteY51" fmla="*/ 2278062 h 6858000"/>
              <a:gd name="connsiteX52" fmla="*/ 55427 w 4838076"/>
              <a:gd name="connsiteY52" fmla="*/ 2319337 h 6858000"/>
              <a:gd name="connsiteX53" fmla="*/ 75583 w 4838076"/>
              <a:gd name="connsiteY53" fmla="*/ 2359025 h 6858000"/>
              <a:gd name="connsiteX54" fmla="*/ 95738 w 4838076"/>
              <a:gd name="connsiteY54" fmla="*/ 2395537 h 6858000"/>
              <a:gd name="connsiteX55" fmla="*/ 115893 w 4838076"/>
              <a:gd name="connsiteY55" fmla="*/ 2433637 h 6858000"/>
              <a:gd name="connsiteX56" fmla="*/ 134368 w 4838076"/>
              <a:gd name="connsiteY56" fmla="*/ 2471737 h 6858000"/>
              <a:gd name="connsiteX57" fmla="*/ 152844 w 4838076"/>
              <a:gd name="connsiteY57" fmla="*/ 2513012 h 6858000"/>
              <a:gd name="connsiteX58" fmla="*/ 167960 w 4838076"/>
              <a:gd name="connsiteY58" fmla="*/ 2560637 h 6858000"/>
              <a:gd name="connsiteX59" fmla="*/ 178038 w 4838076"/>
              <a:gd name="connsiteY59" fmla="*/ 2613025 h 6858000"/>
              <a:gd name="connsiteX60" fmla="*/ 188115 w 4838076"/>
              <a:gd name="connsiteY60" fmla="*/ 2671762 h 6858000"/>
              <a:gd name="connsiteX61" fmla="*/ 189795 w 4838076"/>
              <a:gd name="connsiteY61" fmla="*/ 2741612 h 6858000"/>
              <a:gd name="connsiteX62" fmla="*/ 188115 w 4838076"/>
              <a:gd name="connsiteY62" fmla="*/ 2809875 h 6858000"/>
              <a:gd name="connsiteX63" fmla="*/ 178038 w 4838076"/>
              <a:gd name="connsiteY63" fmla="*/ 2868612 h 6858000"/>
              <a:gd name="connsiteX64" fmla="*/ 167960 w 4838076"/>
              <a:gd name="connsiteY64" fmla="*/ 2922587 h 6858000"/>
              <a:gd name="connsiteX65" fmla="*/ 152844 w 4838076"/>
              <a:gd name="connsiteY65" fmla="*/ 2967037 h 6858000"/>
              <a:gd name="connsiteX66" fmla="*/ 134368 w 4838076"/>
              <a:gd name="connsiteY66" fmla="*/ 3009900 h 6858000"/>
              <a:gd name="connsiteX67" fmla="*/ 115893 w 4838076"/>
              <a:gd name="connsiteY67" fmla="*/ 3046412 h 6858000"/>
              <a:gd name="connsiteX68" fmla="*/ 95738 w 4838076"/>
              <a:gd name="connsiteY68" fmla="*/ 3084512 h 6858000"/>
              <a:gd name="connsiteX69" fmla="*/ 75583 w 4838076"/>
              <a:gd name="connsiteY69" fmla="*/ 3121025 h 6858000"/>
              <a:gd name="connsiteX70" fmla="*/ 55427 w 4838076"/>
              <a:gd name="connsiteY70" fmla="*/ 3160712 h 6858000"/>
              <a:gd name="connsiteX71" fmla="*/ 38632 w 4838076"/>
              <a:gd name="connsiteY71" fmla="*/ 3201987 h 6858000"/>
              <a:gd name="connsiteX72" fmla="*/ 23515 w 4838076"/>
              <a:gd name="connsiteY72" fmla="*/ 3248025 h 6858000"/>
              <a:gd name="connsiteX73" fmla="*/ 11758 w 4838076"/>
              <a:gd name="connsiteY73" fmla="*/ 3300412 h 6858000"/>
              <a:gd name="connsiteX74" fmla="*/ 3359 w 4838076"/>
              <a:gd name="connsiteY74" fmla="*/ 3360737 h 6858000"/>
              <a:gd name="connsiteX75" fmla="*/ 0 w 4838076"/>
              <a:gd name="connsiteY75" fmla="*/ 3427412 h 6858000"/>
              <a:gd name="connsiteX76" fmla="*/ 3359 w 4838076"/>
              <a:gd name="connsiteY76" fmla="*/ 3497262 h 6858000"/>
              <a:gd name="connsiteX77" fmla="*/ 11758 w 4838076"/>
              <a:gd name="connsiteY77" fmla="*/ 3557587 h 6858000"/>
              <a:gd name="connsiteX78" fmla="*/ 23515 w 4838076"/>
              <a:gd name="connsiteY78" fmla="*/ 3609975 h 6858000"/>
              <a:gd name="connsiteX79" fmla="*/ 38632 w 4838076"/>
              <a:gd name="connsiteY79" fmla="*/ 3656012 h 6858000"/>
              <a:gd name="connsiteX80" fmla="*/ 55427 w 4838076"/>
              <a:gd name="connsiteY80" fmla="*/ 3697287 h 6858000"/>
              <a:gd name="connsiteX81" fmla="*/ 75583 w 4838076"/>
              <a:gd name="connsiteY81" fmla="*/ 3736975 h 6858000"/>
              <a:gd name="connsiteX82" fmla="*/ 115893 w 4838076"/>
              <a:gd name="connsiteY82" fmla="*/ 3811587 h 6858000"/>
              <a:gd name="connsiteX83" fmla="*/ 134368 w 4838076"/>
              <a:gd name="connsiteY83" fmla="*/ 3848100 h 6858000"/>
              <a:gd name="connsiteX84" fmla="*/ 152844 w 4838076"/>
              <a:gd name="connsiteY84" fmla="*/ 3890962 h 6858000"/>
              <a:gd name="connsiteX85" fmla="*/ 167960 w 4838076"/>
              <a:gd name="connsiteY85" fmla="*/ 3935412 h 6858000"/>
              <a:gd name="connsiteX86" fmla="*/ 178038 w 4838076"/>
              <a:gd name="connsiteY86" fmla="*/ 3987800 h 6858000"/>
              <a:gd name="connsiteX87" fmla="*/ 188115 w 4838076"/>
              <a:gd name="connsiteY87" fmla="*/ 4048125 h 6858000"/>
              <a:gd name="connsiteX88" fmla="*/ 189795 w 4838076"/>
              <a:gd name="connsiteY88" fmla="*/ 4116387 h 6858000"/>
              <a:gd name="connsiteX89" fmla="*/ 188115 w 4838076"/>
              <a:gd name="connsiteY89" fmla="*/ 4186237 h 6858000"/>
              <a:gd name="connsiteX90" fmla="*/ 178038 w 4838076"/>
              <a:gd name="connsiteY90" fmla="*/ 4244975 h 6858000"/>
              <a:gd name="connsiteX91" fmla="*/ 167960 w 4838076"/>
              <a:gd name="connsiteY91" fmla="*/ 4297362 h 6858000"/>
              <a:gd name="connsiteX92" fmla="*/ 152844 w 4838076"/>
              <a:gd name="connsiteY92" fmla="*/ 4343400 h 6858000"/>
              <a:gd name="connsiteX93" fmla="*/ 134368 w 4838076"/>
              <a:gd name="connsiteY93" fmla="*/ 4386262 h 6858000"/>
              <a:gd name="connsiteX94" fmla="*/ 115893 w 4838076"/>
              <a:gd name="connsiteY94" fmla="*/ 4424362 h 6858000"/>
              <a:gd name="connsiteX95" fmla="*/ 75583 w 4838076"/>
              <a:gd name="connsiteY95" fmla="*/ 4498975 h 6858000"/>
              <a:gd name="connsiteX96" fmla="*/ 55427 w 4838076"/>
              <a:gd name="connsiteY96" fmla="*/ 4537075 h 6858000"/>
              <a:gd name="connsiteX97" fmla="*/ 38632 w 4838076"/>
              <a:gd name="connsiteY97" fmla="*/ 4579937 h 6858000"/>
              <a:gd name="connsiteX98" fmla="*/ 23515 w 4838076"/>
              <a:gd name="connsiteY98" fmla="*/ 4625975 h 6858000"/>
              <a:gd name="connsiteX99" fmla="*/ 11758 w 4838076"/>
              <a:gd name="connsiteY99" fmla="*/ 4678362 h 6858000"/>
              <a:gd name="connsiteX100" fmla="*/ 3359 w 4838076"/>
              <a:gd name="connsiteY100" fmla="*/ 4738687 h 6858000"/>
              <a:gd name="connsiteX101" fmla="*/ 0 w 4838076"/>
              <a:gd name="connsiteY101" fmla="*/ 4806950 h 6858000"/>
              <a:gd name="connsiteX102" fmla="*/ 3359 w 4838076"/>
              <a:gd name="connsiteY102" fmla="*/ 4875212 h 6858000"/>
              <a:gd name="connsiteX103" fmla="*/ 11758 w 4838076"/>
              <a:gd name="connsiteY103" fmla="*/ 4935537 h 6858000"/>
              <a:gd name="connsiteX104" fmla="*/ 23515 w 4838076"/>
              <a:gd name="connsiteY104" fmla="*/ 4987925 h 6858000"/>
              <a:gd name="connsiteX105" fmla="*/ 38632 w 4838076"/>
              <a:gd name="connsiteY105" fmla="*/ 5033962 h 6858000"/>
              <a:gd name="connsiteX106" fmla="*/ 55427 w 4838076"/>
              <a:gd name="connsiteY106" fmla="*/ 5075237 h 6858000"/>
              <a:gd name="connsiteX107" fmla="*/ 75583 w 4838076"/>
              <a:gd name="connsiteY107" fmla="*/ 5114925 h 6858000"/>
              <a:gd name="connsiteX108" fmla="*/ 95738 w 4838076"/>
              <a:gd name="connsiteY108" fmla="*/ 5149850 h 6858000"/>
              <a:gd name="connsiteX109" fmla="*/ 115893 w 4838076"/>
              <a:gd name="connsiteY109" fmla="*/ 5186362 h 6858000"/>
              <a:gd name="connsiteX110" fmla="*/ 134368 w 4838076"/>
              <a:gd name="connsiteY110" fmla="*/ 5226050 h 6858000"/>
              <a:gd name="connsiteX111" fmla="*/ 152844 w 4838076"/>
              <a:gd name="connsiteY111" fmla="*/ 5268912 h 6858000"/>
              <a:gd name="connsiteX112" fmla="*/ 167960 w 4838076"/>
              <a:gd name="connsiteY112" fmla="*/ 5313362 h 6858000"/>
              <a:gd name="connsiteX113" fmla="*/ 178038 w 4838076"/>
              <a:gd name="connsiteY113" fmla="*/ 5365750 h 6858000"/>
              <a:gd name="connsiteX114" fmla="*/ 188115 w 4838076"/>
              <a:gd name="connsiteY114" fmla="*/ 5426075 h 6858000"/>
              <a:gd name="connsiteX115" fmla="*/ 189795 w 4838076"/>
              <a:gd name="connsiteY115" fmla="*/ 5494337 h 6858000"/>
              <a:gd name="connsiteX116" fmla="*/ 188115 w 4838076"/>
              <a:gd name="connsiteY116" fmla="*/ 5562600 h 6858000"/>
              <a:gd name="connsiteX117" fmla="*/ 178038 w 4838076"/>
              <a:gd name="connsiteY117" fmla="*/ 5622925 h 6858000"/>
              <a:gd name="connsiteX118" fmla="*/ 167960 w 4838076"/>
              <a:gd name="connsiteY118" fmla="*/ 5675312 h 6858000"/>
              <a:gd name="connsiteX119" fmla="*/ 152844 w 4838076"/>
              <a:gd name="connsiteY119" fmla="*/ 5721350 h 6858000"/>
              <a:gd name="connsiteX120" fmla="*/ 134368 w 4838076"/>
              <a:gd name="connsiteY120" fmla="*/ 5762625 h 6858000"/>
              <a:gd name="connsiteX121" fmla="*/ 115893 w 4838076"/>
              <a:gd name="connsiteY121" fmla="*/ 5802312 h 6858000"/>
              <a:gd name="connsiteX122" fmla="*/ 95738 w 4838076"/>
              <a:gd name="connsiteY122" fmla="*/ 5840412 h 6858000"/>
              <a:gd name="connsiteX123" fmla="*/ 75583 w 4838076"/>
              <a:gd name="connsiteY123" fmla="*/ 5876925 h 6858000"/>
              <a:gd name="connsiteX124" fmla="*/ 55427 w 4838076"/>
              <a:gd name="connsiteY124" fmla="*/ 5915025 h 6858000"/>
              <a:gd name="connsiteX125" fmla="*/ 38632 w 4838076"/>
              <a:gd name="connsiteY125" fmla="*/ 5956300 h 6858000"/>
              <a:gd name="connsiteX126" fmla="*/ 23515 w 4838076"/>
              <a:gd name="connsiteY126" fmla="*/ 6003925 h 6858000"/>
              <a:gd name="connsiteX127" fmla="*/ 11758 w 4838076"/>
              <a:gd name="connsiteY127" fmla="*/ 6056312 h 6858000"/>
              <a:gd name="connsiteX128" fmla="*/ 3359 w 4838076"/>
              <a:gd name="connsiteY128" fmla="*/ 6113462 h 6858000"/>
              <a:gd name="connsiteX129" fmla="*/ 0 w 4838076"/>
              <a:gd name="connsiteY129" fmla="*/ 6183312 h 6858000"/>
              <a:gd name="connsiteX130" fmla="*/ 3359 w 4838076"/>
              <a:gd name="connsiteY130" fmla="*/ 6251575 h 6858000"/>
              <a:gd name="connsiteX131" fmla="*/ 11758 w 4838076"/>
              <a:gd name="connsiteY131" fmla="*/ 6311900 h 6858000"/>
              <a:gd name="connsiteX132" fmla="*/ 23515 w 4838076"/>
              <a:gd name="connsiteY132" fmla="*/ 6361112 h 6858000"/>
              <a:gd name="connsiteX133" fmla="*/ 38632 w 4838076"/>
              <a:gd name="connsiteY133" fmla="*/ 6407150 h 6858000"/>
              <a:gd name="connsiteX134" fmla="*/ 55427 w 4838076"/>
              <a:gd name="connsiteY134" fmla="*/ 6448425 h 6858000"/>
              <a:gd name="connsiteX135" fmla="*/ 73903 w 4838076"/>
              <a:gd name="connsiteY135" fmla="*/ 6488112 h 6858000"/>
              <a:gd name="connsiteX136" fmla="*/ 92379 w 4838076"/>
              <a:gd name="connsiteY136" fmla="*/ 6523037 h 6858000"/>
              <a:gd name="connsiteX137" fmla="*/ 112534 w 4838076"/>
              <a:gd name="connsiteY137" fmla="*/ 6561137 h 6858000"/>
              <a:gd name="connsiteX138" fmla="*/ 132689 w 4838076"/>
              <a:gd name="connsiteY138" fmla="*/ 6597650 h 6858000"/>
              <a:gd name="connsiteX139" fmla="*/ 149485 w 4838076"/>
              <a:gd name="connsiteY139" fmla="*/ 6640512 h 6858000"/>
              <a:gd name="connsiteX140" fmla="*/ 166281 w 4838076"/>
              <a:gd name="connsiteY140" fmla="*/ 6683375 h 6858000"/>
              <a:gd name="connsiteX141" fmla="*/ 176358 w 4838076"/>
              <a:gd name="connsiteY141" fmla="*/ 6735762 h 6858000"/>
              <a:gd name="connsiteX142" fmla="*/ 184756 w 4838076"/>
              <a:gd name="connsiteY142" fmla="*/ 6791325 h 6858000"/>
              <a:gd name="connsiteX143" fmla="*/ 189795 w 4838076"/>
              <a:gd name="connsiteY143" fmla="*/ 6858000 h 6858000"/>
              <a:gd name="connsiteX144" fmla="*/ 334173 w 4838076"/>
              <a:gd name="connsiteY144" fmla="*/ 6858000 h 6858000"/>
              <a:gd name="connsiteX145" fmla="*/ 334174 w 4838076"/>
              <a:gd name="connsiteY145" fmla="*/ 6858000 h 6858000"/>
              <a:gd name="connsiteX146" fmla="*/ 3459219 w 4838076"/>
              <a:gd name="connsiteY146" fmla="*/ 6858000 h 6858000"/>
              <a:gd name="connsiteX147" fmla="*/ 4417162 w 4838076"/>
              <a:gd name="connsiteY147" fmla="*/ 6858000 h 6858000"/>
              <a:gd name="connsiteX148" fmla="*/ 4838076 w 4838076"/>
              <a:gd name="connsiteY14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4838076" h="6858000">
                <a:moveTo>
                  <a:pt x="4838076" y="0"/>
                </a:moveTo>
                <a:lnTo>
                  <a:pt x="4417162" y="0"/>
                </a:lnTo>
                <a:lnTo>
                  <a:pt x="3459219" y="0"/>
                </a:lnTo>
                <a:lnTo>
                  <a:pt x="334174" y="0"/>
                </a:lnTo>
                <a:lnTo>
                  <a:pt x="334173" y="0"/>
                </a:lnTo>
                <a:lnTo>
                  <a:pt x="189795" y="0"/>
                </a:lnTo>
                <a:lnTo>
                  <a:pt x="184756" y="66675"/>
                </a:lnTo>
                <a:lnTo>
                  <a:pt x="176358" y="122237"/>
                </a:lnTo>
                <a:lnTo>
                  <a:pt x="166281" y="174625"/>
                </a:lnTo>
                <a:lnTo>
                  <a:pt x="149485" y="217487"/>
                </a:lnTo>
                <a:lnTo>
                  <a:pt x="132689" y="260350"/>
                </a:lnTo>
                <a:lnTo>
                  <a:pt x="112534" y="296862"/>
                </a:lnTo>
                <a:lnTo>
                  <a:pt x="92379" y="334962"/>
                </a:lnTo>
                <a:lnTo>
                  <a:pt x="73903" y="369887"/>
                </a:lnTo>
                <a:lnTo>
                  <a:pt x="55427" y="409575"/>
                </a:lnTo>
                <a:lnTo>
                  <a:pt x="38632" y="450850"/>
                </a:lnTo>
                <a:lnTo>
                  <a:pt x="23515" y="496887"/>
                </a:lnTo>
                <a:lnTo>
                  <a:pt x="11758" y="546100"/>
                </a:lnTo>
                <a:lnTo>
                  <a:pt x="3359" y="606425"/>
                </a:lnTo>
                <a:lnTo>
                  <a:pt x="0" y="673100"/>
                </a:lnTo>
                <a:lnTo>
                  <a:pt x="3359" y="744537"/>
                </a:lnTo>
                <a:lnTo>
                  <a:pt x="11758" y="801687"/>
                </a:lnTo>
                <a:lnTo>
                  <a:pt x="23515" y="854075"/>
                </a:lnTo>
                <a:lnTo>
                  <a:pt x="38632" y="901700"/>
                </a:lnTo>
                <a:lnTo>
                  <a:pt x="55427" y="942975"/>
                </a:lnTo>
                <a:lnTo>
                  <a:pt x="75583" y="981075"/>
                </a:lnTo>
                <a:lnTo>
                  <a:pt x="95738" y="1017587"/>
                </a:lnTo>
                <a:lnTo>
                  <a:pt x="115893" y="1055687"/>
                </a:lnTo>
                <a:lnTo>
                  <a:pt x="134368" y="1095375"/>
                </a:lnTo>
                <a:lnTo>
                  <a:pt x="152844" y="1136650"/>
                </a:lnTo>
                <a:lnTo>
                  <a:pt x="167960" y="1182687"/>
                </a:lnTo>
                <a:lnTo>
                  <a:pt x="178038" y="1235075"/>
                </a:lnTo>
                <a:lnTo>
                  <a:pt x="188115" y="1295400"/>
                </a:lnTo>
                <a:lnTo>
                  <a:pt x="189795" y="1363662"/>
                </a:lnTo>
                <a:lnTo>
                  <a:pt x="188115" y="1431925"/>
                </a:lnTo>
                <a:lnTo>
                  <a:pt x="178038" y="1492250"/>
                </a:lnTo>
                <a:lnTo>
                  <a:pt x="167960" y="1544637"/>
                </a:lnTo>
                <a:lnTo>
                  <a:pt x="152844" y="1589087"/>
                </a:lnTo>
                <a:lnTo>
                  <a:pt x="134368" y="1631950"/>
                </a:lnTo>
                <a:lnTo>
                  <a:pt x="115893" y="1671637"/>
                </a:lnTo>
                <a:lnTo>
                  <a:pt x="95738" y="1708150"/>
                </a:lnTo>
                <a:lnTo>
                  <a:pt x="75583" y="1743075"/>
                </a:lnTo>
                <a:lnTo>
                  <a:pt x="55427" y="1782762"/>
                </a:lnTo>
                <a:lnTo>
                  <a:pt x="38632" y="1824037"/>
                </a:lnTo>
                <a:lnTo>
                  <a:pt x="23515" y="1870075"/>
                </a:lnTo>
                <a:lnTo>
                  <a:pt x="11758" y="1922462"/>
                </a:lnTo>
                <a:lnTo>
                  <a:pt x="3359" y="1982787"/>
                </a:lnTo>
                <a:lnTo>
                  <a:pt x="0" y="2051050"/>
                </a:lnTo>
                <a:lnTo>
                  <a:pt x="3359" y="2119312"/>
                </a:lnTo>
                <a:lnTo>
                  <a:pt x="11758" y="2179637"/>
                </a:lnTo>
                <a:lnTo>
                  <a:pt x="23515" y="2232025"/>
                </a:lnTo>
                <a:lnTo>
                  <a:pt x="38632" y="2278062"/>
                </a:lnTo>
                <a:lnTo>
                  <a:pt x="55427" y="2319337"/>
                </a:lnTo>
                <a:lnTo>
                  <a:pt x="75583" y="2359025"/>
                </a:lnTo>
                <a:lnTo>
                  <a:pt x="95738" y="2395537"/>
                </a:lnTo>
                <a:lnTo>
                  <a:pt x="115893" y="2433637"/>
                </a:lnTo>
                <a:lnTo>
                  <a:pt x="134368" y="2471737"/>
                </a:lnTo>
                <a:lnTo>
                  <a:pt x="152844" y="2513012"/>
                </a:lnTo>
                <a:lnTo>
                  <a:pt x="167960" y="2560637"/>
                </a:lnTo>
                <a:lnTo>
                  <a:pt x="178038" y="2613025"/>
                </a:lnTo>
                <a:lnTo>
                  <a:pt x="188115" y="2671762"/>
                </a:lnTo>
                <a:lnTo>
                  <a:pt x="189795" y="2741612"/>
                </a:lnTo>
                <a:lnTo>
                  <a:pt x="188115" y="2809875"/>
                </a:lnTo>
                <a:lnTo>
                  <a:pt x="178038" y="2868612"/>
                </a:lnTo>
                <a:lnTo>
                  <a:pt x="167960" y="2922587"/>
                </a:lnTo>
                <a:lnTo>
                  <a:pt x="152844" y="2967037"/>
                </a:lnTo>
                <a:lnTo>
                  <a:pt x="134368" y="3009900"/>
                </a:lnTo>
                <a:lnTo>
                  <a:pt x="115893" y="3046412"/>
                </a:lnTo>
                <a:lnTo>
                  <a:pt x="95738" y="3084512"/>
                </a:lnTo>
                <a:lnTo>
                  <a:pt x="75583" y="3121025"/>
                </a:lnTo>
                <a:lnTo>
                  <a:pt x="55427" y="3160712"/>
                </a:lnTo>
                <a:lnTo>
                  <a:pt x="38632" y="3201987"/>
                </a:lnTo>
                <a:lnTo>
                  <a:pt x="23515" y="3248025"/>
                </a:lnTo>
                <a:lnTo>
                  <a:pt x="11758" y="3300412"/>
                </a:lnTo>
                <a:lnTo>
                  <a:pt x="3359" y="3360737"/>
                </a:lnTo>
                <a:lnTo>
                  <a:pt x="0" y="3427412"/>
                </a:lnTo>
                <a:lnTo>
                  <a:pt x="3359" y="3497262"/>
                </a:lnTo>
                <a:lnTo>
                  <a:pt x="11758" y="3557587"/>
                </a:lnTo>
                <a:lnTo>
                  <a:pt x="23515" y="3609975"/>
                </a:lnTo>
                <a:lnTo>
                  <a:pt x="38632" y="3656012"/>
                </a:lnTo>
                <a:lnTo>
                  <a:pt x="55427" y="3697287"/>
                </a:lnTo>
                <a:lnTo>
                  <a:pt x="75583" y="3736975"/>
                </a:lnTo>
                <a:lnTo>
                  <a:pt x="115893" y="3811587"/>
                </a:lnTo>
                <a:lnTo>
                  <a:pt x="134368" y="3848100"/>
                </a:lnTo>
                <a:lnTo>
                  <a:pt x="152844" y="3890962"/>
                </a:lnTo>
                <a:lnTo>
                  <a:pt x="167960" y="3935412"/>
                </a:lnTo>
                <a:lnTo>
                  <a:pt x="178038" y="3987800"/>
                </a:lnTo>
                <a:lnTo>
                  <a:pt x="188115" y="4048125"/>
                </a:lnTo>
                <a:lnTo>
                  <a:pt x="189795" y="4116387"/>
                </a:lnTo>
                <a:lnTo>
                  <a:pt x="188115" y="4186237"/>
                </a:lnTo>
                <a:lnTo>
                  <a:pt x="178038" y="4244975"/>
                </a:lnTo>
                <a:lnTo>
                  <a:pt x="167960" y="4297362"/>
                </a:lnTo>
                <a:lnTo>
                  <a:pt x="152844" y="4343400"/>
                </a:lnTo>
                <a:lnTo>
                  <a:pt x="134368" y="4386262"/>
                </a:lnTo>
                <a:lnTo>
                  <a:pt x="115893" y="4424362"/>
                </a:lnTo>
                <a:lnTo>
                  <a:pt x="75583" y="4498975"/>
                </a:lnTo>
                <a:lnTo>
                  <a:pt x="55427" y="4537075"/>
                </a:lnTo>
                <a:lnTo>
                  <a:pt x="38632" y="4579937"/>
                </a:lnTo>
                <a:lnTo>
                  <a:pt x="23515" y="4625975"/>
                </a:lnTo>
                <a:lnTo>
                  <a:pt x="11758" y="4678362"/>
                </a:lnTo>
                <a:lnTo>
                  <a:pt x="3359" y="4738687"/>
                </a:lnTo>
                <a:lnTo>
                  <a:pt x="0" y="4806950"/>
                </a:lnTo>
                <a:lnTo>
                  <a:pt x="3359" y="4875212"/>
                </a:lnTo>
                <a:lnTo>
                  <a:pt x="11758" y="4935537"/>
                </a:lnTo>
                <a:lnTo>
                  <a:pt x="23515" y="4987925"/>
                </a:lnTo>
                <a:lnTo>
                  <a:pt x="38632" y="5033962"/>
                </a:lnTo>
                <a:lnTo>
                  <a:pt x="55427" y="5075237"/>
                </a:lnTo>
                <a:lnTo>
                  <a:pt x="75583" y="5114925"/>
                </a:lnTo>
                <a:lnTo>
                  <a:pt x="95738" y="5149850"/>
                </a:lnTo>
                <a:lnTo>
                  <a:pt x="115893" y="5186362"/>
                </a:lnTo>
                <a:lnTo>
                  <a:pt x="134368" y="5226050"/>
                </a:lnTo>
                <a:lnTo>
                  <a:pt x="152844" y="5268912"/>
                </a:lnTo>
                <a:lnTo>
                  <a:pt x="167960" y="5313362"/>
                </a:lnTo>
                <a:lnTo>
                  <a:pt x="178038" y="5365750"/>
                </a:lnTo>
                <a:lnTo>
                  <a:pt x="188115" y="5426075"/>
                </a:lnTo>
                <a:lnTo>
                  <a:pt x="189795" y="5494337"/>
                </a:lnTo>
                <a:lnTo>
                  <a:pt x="188115" y="5562600"/>
                </a:lnTo>
                <a:lnTo>
                  <a:pt x="178038" y="5622925"/>
                </a:lnTo>
                <a:lnTo>
                  <a:pt x="167960" y="5675312"/>
                </a:lnTo>
                <a:lnTo>
                  <a:pt x="152844" y="5721350"/>
                </a:lnTo>
                <a:lnTo>
                  <a:pt x="134368" y="5762625"/>
                </a:lnTo>
                <a:lnTo>
                  <a:pt x="115893" y="5802312"/>
                </a:lnTo>
                <a:lnTo>
                  <a:pt x="95738" y="5840412"/>
                </a:lnTo>
                <a:lnTo>
                  <a:pt x="75583" y="5876925"/>
                </a:lnTo>
                <a:lnTo>
                  <a:pt x="55427" y="5915025"/>
                </a:lnTo>
                <a:lnTo>
                  <a:pt x="38632" y="5956300"/>
                </a:lnTo>
                <a:lnTo>
                  <a:pt x="23515" y="6003925"/>
                </a:lnTo>
                <a:lnTo>
                  <a:pt x="11758" y="6056312"/>
                </a:lnTo>
                <a:lnTo>
                  <a:pt x="3359" y="6113462"/>
                </a:lnTo>
                <a:lnTo>
                  <a:pt x="0" y="6183312"/>
                </a:lnTo>
                <a:lnTo>
                  <a:pt x="3359" y="6251575"/>
                </a:lnTo>
                <a:lnTo>
                  <a:pt x="11758" y="6311900"/>
                </a:lnTo>
                <a:lnTo>
                  <a:pt x="23515" y="6361112"/>
                </a:lnTo>
                <a:lnTo>
                  <a:pt x="38632" y="6407150"/>
                </a:lnTo>
                <a:lnTo>
                  <a:pt x="55427" y="6448425"/>
                </a:lnTo>
                <a:lnTo>
                  <a:pt x="73903" y="6488112"/>
                </a:lnTo>
                <a:lnTo>
                  <a:pt x="92379" y="6523037"/>
                </a:lnTo>
                <a:lnTo>
                  <a:pt x="112534" y="6561137"/>
                </a:lnTo>
                <a:lnTo>
                  <a:pt x="132689" y="6597650"/>
                </a:lnTo>
                <a:lnTo>
                  <a:pt x="149485" y="6640512"/>
                </a:lnTo>
                <a:lnTo>
                  <a:pt x="166281" y="6683375"/>
                </a:lnTo>
                <a:lnTo>
                  <a:pt x="176358" y="6735762"/>
                </a:lnTo>
                <a:lnTo>
                  <a:pt x="184756" y="6791325"/>
                </a:lnTo>
                <a:lnTo>
                  <a:pt x="189795" y="6858000"/>
                </a:lnTo>
                <a:lnTo>
                  <a:pt x="334173" y="6858000"/>
                </a:lnTo>
                <a:lnTo>
                  <a:pt x="334174" y="6858000"/>
                </a:lnTo>
                <a:lnTo>
                  <a:pt x="3459219" y="6858000"/>
                </a:lnTo>
                <a:lnTo>
                  <a:pt x="4417162" y="6858000"/>
                </a:lnTo>
                <a:lnTo>
                  <a:pt x="4838076" y="6858000"/>
                </a:lnTo>
                <a:close/>
              </a:path>
            </a:pathLst>
          </a:custGeom>
          <a:solidFill>
            <a:schemeClr val="accent1">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9" name="Title 1">
            <a:extLst>
              <a:ext uri="{FF2B5EF4-FFF2-40B4-BE49-F238E27FC236}">
                <a16:creationId xmlns:a16="http://schemas.microsoft.com/office/drawing/2014/main" id="{252CEF1E-1860-E049-957F-9E98CBB36A9B}"/>
              </a:ext>
            </a:extLst>
          </p:cNvPr>
          <p:cNvSpPr>
            <a:spLocks noGrp="1"/>
          </p:cNvSpPr>
          <p:nvPr>
            <p:ph type="title"/>
          </p:nvPr>
        </p:nvSpPr>
        <p:spPr>
          <a:xfrm>
            <a:off x="341377" y="432994"/>
            <a:ext cx="3608896" cy="1013250"/>
          </a:xfrm>
        </p:spPr>
        <p:txBody>
          <a:bodyPr anchor="b">
            <a:normAutofit fontScale="90000"/>
          </a:bodyPr>
          <a:lstStyle/>
          <a:p>
            <a:pPr algn="ctr"/>
            <a:r>
              <a:rPr lang="en-US" sz="3600" dirty="0">
                <a:solidFill>
                  <a:srgbClr val="FFFFFF"/>
                </a:solidFill>
              </a:rPr>
              <a:t>Lisa Walsh</a:t>
            </a:r>
            <a:br>
              <a:rPr lang="en-US" sz="3600" dirty="0">
                <a:solidFill>
                  <a:srgbClr val="FFFFFF"/>
                </a:solidFill>
              </a:rPr>
            </a:br>
            <a:r>
              <a:rPr lang="en-US" sz="2000" dirty="0">
                <a:solidFill>
                  <a:srgbClr val="FFFFFF"/>
                </a:solidFill>
              </a:rPr>
              <a:t>Software Quality Manager</a:t>
            </a:r>
            <a:br>
              <a:rPr lang="en-US" sz="2000" dirty="0">
                <a:solidFill>
                  <a:srgbClr val="FFFFFF"/>
                </a:solidFill>
              </a:rPr>
            </a:br>
            <a:r>
              <a:rPr lang="en-US" sz="1300" u="sng" dirty="0" err="1">
                <a:solidFill>
                  <a:srgbClr val="00B0F0"/>
                </a:solidFill>
              </a:rPr>
              <a:t>www.lisa-walsh.com</a:t>
            </a:r>
            <a:endParaRPr lang="en-US" sz="1300" b="1" u="sng" dirty="0">
              <a:solidFill>
                <a:srgbClr val="00B0F0"/>
              </a:solidFill>
            </a:endParaRPr>
          </a:p>
        </p:txBody>
      </p:sp>
      <p:pic>
        <p:nvPicPr>
          <p:cNvPr id="10" name="Picture 9">
            <a:extLst>
              <a:ext uri="{FF2B5EF4-FFF2-40B4-BE49-F238E27FC236}">
                <a16:creationId xmlns:a16="http://schemas.microsoft.com/office/drawing/2014/main" id="{E0385E03-AE14-7E49-88D6-4E1FA709D962}"/>
              </a:ext>
            </a:extLst>
          </p:cNvPr>
          <p:cNvPicPr>
            <a:picLocks noChangeAspect="1"/>
          </p:cNvPicPr>
          <p:nvPr/>
        </p:nvPicPr>
        <p:blipFill rotWithShape="1">
          <a:blip r:embed="rId2"/>
          <a:srcRect l="28692" r="5432" b="4"/>
          <a:stretch/>
        </p:blipFill>
        <p:spPr>
          <a:xfrm>
            <a:off x="9071322" y="2502063"/>
            <a:ext cx="1628408" cy="1853873"/>
          </a:xfrm>
          <a:prstGeom prst="rect">
            <a:avLst/>
          </a:prstGeom>
        </p:spPr>
      </p:pic>
      <p:pic>
        <p:nvPicPr>
          <p:cNvPr id="11" name="Picture 10" descr="A group of people posing for a photo&#10;&#10;Description automatically generated with medium confidence">
            <a:extLst>
              <a:ext uri="{FF2B5EF4-FFF2-40B4-BE49-F238E27FC236}">
                <a16:creationId xmlns:a16="http://schemas.microsoft.com/office/drawing/2014/main" id="{1B9F2A51-3127-C147-B704-FCC9CAF39726}"/>
              </a:ext>
            </a:extLst>
          </p:cNvPr>
          <p:cNvPicPr>
            <a:picLocks noChangeAspect="1"/>
          </p:cNvPicPr>
          <p:nvPr/>
        </p:nvPicPr>
        <p:blipFill rotWithShape="1">
          <a:blip r:embed="rId3"/>
          <a:srcRect t="3390" r="5" b="11191"/>
          <a:stretch/>
        </p:blipFill>
        <p:spPr>
          <a:xfrm>
            <a:off x="9072065" y="540287"/>
            <a:ext cx="1627665" cy="1853874"/>
          </a:xfrm>
          <a:prstGeom prst="rect">
            <a:avLst/>
          </a:prstGeom>
        </p:spPr>
      </p:pic>
      <p:pic>
        <p:nvPicPr>
          <p:cNvPr id="12" name="Picture 11" descr="A picture containing person, indoor, wall, person&#10;&#10;Description automatically generated">
            <a:extLst>
              <a:ext uri="{FF2B5EF4-FFF2-40B4-BE49-F238E27FC236}">
                <a16:creationId xmlns:a16="http://schemas.microsoft.com/office/drawing/2014/main" id="{3259431C-8F19-FE41-8A38-89CD54BE541F}"/>
              </a:ext>
            </a:extLst>
          </p:cNvPr>
          <p:cNvPicPr>
            <a:picLocks noChangeAspect="1"/>
          </p:cNvPicPr>
          <p:nvPr/>
        </p:nvPicPr>
        <p:blipFill rotWithShape="1">
          <a:blip r:embed="rId4"/>
          <a:srcRect l="21073" r="20319" b="-4"/>
          <a:stretch/>
        </p:blipFill>
        <p:spPr>
          <a:xfrm>
            <a:off x="666674" y="2729864"/>
            <a:ext cx="3283599" cy="3739915"/>
          </a:xfrm>
          <a:prstGeom prst="rect">
            <a:avLst/>
          </a:prstGeom>
        </p:spPr>
      </p:pic>
      <p:pic>
        <p:nvPicPr>
          <p:cNvPr id="13" name="Picture 12" descr="A person and person posing for a picture&#10;&#10;Description automatically generated with medium confidence">
            <a:extLst>
              <a:ext uri="{FF2B5EF4-FFF2-40B4-BE49-F238E27FC236}">
                <a16:creationId xmlns:a16="http://schemas.microsoft.com/office/drawing/2014/main" id="{A38F3E0C-92C5-564E-8980-41CEEC46EDA4}"/>
              </a:ext>
            </a:extLst>
          </p:cNvPr>
          <p:cNvPicPr>
            <a:picLocks noChangeAspect="1"/>
          </p:cNvPicPr>
          <p:nvPr/>
        </p:nvPicPr>
        <p:blipFill rotWithShape="1">
          <a:blip r:embed="rId5"/>
          <a:srcRect r="5" b="14581"/>
          <a:stretch/>
        </p:blipFill>
        <p:spPr>
          <a:xfrm>
            <a:off x="5947073" y="546348"/>
            <a:ext cx="1624349" cy="1850097"/>
          </a:xfrm>
          <a:prstGeom prst="rect">
            <a:avLst/>
          </a:prstGeom>
        </p:spPr>
      </p:pic>
      <p:pic>
        <p:nvPicPr>
          <p:cNvPr id="14" name="Picture 13" descr="A picture containing person, fruit, squash, child&#10;&#10;Description automatically generated">
            <a:extLst>
              <a:ext uri="{FF2B5EF4-FFF2-40B4-BE49-F238E27FC236}">
                <a16:creationId xmlns:a16="http://schemas.microsoft.com/office/drawing/2014/main" id="{D42E076C-9DC7-CA45-8794-8CD87D715F91}"/>
              </a:ext>
            </a:extLst>
          </p:cNvPr>
          <p:cNvPicPr>
            <a:picLocks noChangeAspect="1"/>
          </p:cNvPicPr>
          <p:nvPr/>
        </p:nvPicPr>
        <p:blipFill rotWithShape="1">
          <a:blip r:embed="rId6"/>
          <a:srcRect l="7545" r="4395" b="-2"/>
          <a:stretch/>
        </p:blipFill>
        <p:spPr>
          <a:xfrm>
            <a:off x="5947073" y="2502063"/>
            <a:ext cx="1642002" cy="1869351"/>
          </a:xfrm>
          <a:prstGeom prst="rect">
            <a:avLst/>
          </a:prstGeom>
        </p:spPr>
      </p:pic>
      <p:pic>
        <p:nvPicPr>
          <p:cNvPr id="15" name="Picture 14" descr="A person and person posing for a picture with a mountain in the background&#10;&#10;Description automatically generated with medium confidence">
            <a:extLst>
              <a:ext uri="{FF2B5EF4-FFF2-40B4-BE49-F238E27FC236}">
                <a16:creationId xmlns:a16="http://schemas.microsoft.com/office/drawing/2014/main" id="{C2A38735-C741-1E47-84E4-32CAAFC57711}"/>
              </a:ext>
            </a:extLst>
          </p:cNvPr>
          <p:cNvPicPr>
            <a:picLocks noChangeAspect="1"/>
          </p:cNvPicPr>
          <p:nvPr/>
        </p:nvPicPr>
        <p:blipFill rotWithShape="1">
          <a:blip r:embed="rId7"/>
          <a:srcRect t="14576" r="5" b="5"/>
          <a:stretch/>
        </p:blipFill>
        <p:spPr>
          <a:xfrm>
            <a:off x="5939777" y="4479316"/>
            <a:ext cx="1649298" cy="1878513"/>
          </a:xfrm>
          <a:prstGeom prst="rect">
            <a:avLst/>
          </a:prstGeom>
        </p:spPr>
      </p:pic>
      <p:pic>
        <p:nvPicPr>
          <p:cNvPr id="16" name="Picture 15" descr="A picture containing plate, food, white, dish&#10;&#10;Description automatically generated">
            <a:extLst>
              <a:ext uri="{FF2B5EF4-FFF2-40B4-BE49-F238E27FC236}">
                <a16:creationId xmlns:a16="http://schemas.microsoft.com/office/drawing/2014/main" id="{F0B23860-CC9A-474C-8EF9-B79D37BEBFD5}"/>
              </a:ext>
            </a:extLst>
          </p:cNvPr>
          <p:cNvPicPr>
            <a:picLocks noChangeAspect="1"/>
          </p:cNvPicPr>
          <p:nvPr/>
        </p:nvPicPr>
        <p:blipFill>
          <a:blip r:embed="rId8"/>
          <a:stretch>
            <a:fillRect/>
          </a:stretch>
        </p:blipFill>
        <p:spPr>
          <a:xfrm rot="5400000">
            <a:off x="8937855" y="4612785"/>
            <a:ext cx="1878514" cy="1611580"/>
          </a:xfrm>
          <a:prstGeom prst="rect">
            <a:avLst/>
          </a:prstGeom>
        </p:spPr>
      </p:pic>
      <p:sp>
        <p:nvSpPr>
          <p:cNvPr id="18" name="TextBox 17">
            <a:extLst>
              <a:ext uri="{FF2B5EF4-FFF2-40B4-BE49-F238E27FC236}">
                <a16:creationId xmlns:a16="http://schemas.microsoft.com/office/drawing/2014/main" id="{73AB0356-5271-8C4D-87D8-FB7D546979E6}"/>
              </a:ext>
            </a:extLst>
          </p:cNvPr>
          <p:cNvSpPr txBox="1"/>
          <p:nvPr/>
        </p:nvSpPr>
        <p:spPr>
          <a:xfrm>
            <a:off x="1208064" y="1398644"/>
            <a:ext cx="1920080" cy="369332"/>
          </a:xfrm>
          <a:prstGeom prst="rect">
            <a:avLst/>
          </a:prstGeom>
          <a:noFill/>
        </p:spPr>
        <p:txBody>
          <a:bodyPr wrap="square" rtlCol="0">
            <a:spAutoFit/>
          </a:bodyPr>
          <a:lstStyle/>
          <a:p>
            <a:pPr algn="ctr"/>
            <a:r>
              <a:rPr lang="en-US" dirty="0">
                <a:solidFill>
                  <a:srgbClr val="FFFFFF"/>
                </a:solidFill>
              </a:rPr>
              <a:t>Wife</a:t>
            </a:r>
            <a:endParaRPr lang="en-US" dirty="0"/>
          </a:p>
        </p:txBody>
      </p:sp>
      <p:sp>
        <p:nvSpPr>
          <p:cNvPr id="20" name="TextBox 19">
            <a:extLst>
              <a:ext uri="{FF2B5EF4-FFF2-40B4-BE49-F238E27FC236}">
                <a16:creationId xmlns:a16="http://schemas.microsoft.com/office/drawing/2014/main" id="{4BF2FB3B-76C8-CE4C-AD98-341FC1C3AC5D}"/>
              </a:ext>
            </a:extLst>
          </p:cNvPr>
          <p:cNvSpPr txBox="1"/>
          <p:nvPr/>
        </p:nvSpPr>
        <p:spPr>
          <a:xfrm>
            <a:off x="1198041" y="1732516"/>
            <a:ext cx="1920080" cy="369332"/>
          </a:xfrm>
          <a:prstGeom prst="rect">
            <a:avLst/>
          </a:prstGeom>
          <a:noFill/>
        </p:spPr>
        <p:txBody>
          <a:bodyPr wrap="square" rtlCol="0">
            <a:spAutoFit/>
          </a:bodyPr>
          <a:lstStyle/>
          <a:p>
            <a:pPr algn="ctr"/>
            <a:r>
              <a:rPr lang="en-US" dirty="0">
                <a:solidFill>
                  <a:srgbClr val="FFFFFF"/>
                </a:solidFill>
              </a:rPr>
              <a:t>Mom</a:t>
            </a:r>
            <a:endParaRPr lang="en-US" dirty="0"/>
          </a:p>
        </p:txBody>
      </p:sp>
      <p:sp>
        <p:nvSpPr>
          <p:cNvPr id="22" name="TextBox 21">
            <a:extLst>
              <a:ext uri="{FF2B5EF4-FFF2-40B4-BE49-F238E27FC236}">
                <a16:creationId xmlns:a16="http://schemas.microsoft.com/office/drawing/2014/main" id="{2AEB4AFD-4FBA-F442-B6D8-D4095ADC0944}"/>
              </a:ext>
            </a:extLst>
          </p:cNvPr>
          <p:cNvSpPr txBox="1"/>
          <p:nvPr/>
        </p:nvSpPr>
        <p:spPr>
          <a:xfrm>
            <a:off x="1198041" y="2054248"/>
            <a:ext cx="1920080" cy="369332"/>
          </a:xfrm>
          <a:prstGeom prst="rect">
            <a:avLst/>
          </a:prstGeom>
          <a:noFill/>
        </p:spPr>
        <p:txBody>
          <a:bodyPr wrap="square" rtlCol="0">
            <a:spAutoFit/>
          </a:bodyPr>
          <a:lstStyle/>
          <a:p>
            <a:pPr algn="ctr"/>
            <a:r>
              <a:rPr lang="en-US" dirty="0">
                <a:solidFill>
                  <a:srgbClr val="FFFFFF"/>
                </a:solidFill>
              </a:rPr>
              <a:t>Active</a:t>
            </a:r>
            <a:endParaRPr lang="en-US" dirty="0"/>
          </a:p>
        </p:txBody>
      </p:sp>
      <p:sp>
        <p:nvSpPr>
          <p:cNvPr id="23" name="TextBox 22">
            <a:extLst>
              <a:ext uri="{FF2B5EF4-FFF2-40B4-BE49-F238E27FC236}">
                <a16:creationId xmlns:a16="http://schemas.microsoft.com/office/drawing/2014/main" id="{9DBE5B12-691C-E743-80DB-209C9399B0CB}"/>
              </a:ext>
            </a:extLst>
          </p:cNvPr>
          <p:cNvSpPr txBox="1"/>
          <p:nvPr/>
        </p:nvSpPr>
        <p:spPr>
          <a:xfrm>
            <a:off x="1198041" y="2360532"/>
            <a:ext cx="1920080" cy="369332"/>
          </a:xfrm>
          <a:prstGeom prst="rect">
            <a:avLst/>
          </a:prstGeom>
          <a:noFill/>
        </p:spPr>
        <p:txBody>
          <a:bodyPr wrap="square" rtlCol="0">
            <a:spAutoFit/>
          </a:bodyPr>
          <a:lstStyle/>
          <a:p>
            <a:pPr algn="ctr"/>
            <a:r>
              <a:rPr lang="en-US" dirty="0">
                <a:solidFill>
                  <a:srgbClr val="FFFFFF"/>
                </a:solidFill>
              </a:rPr>
              <a:t>Foodie &amp; Chef</a:t>
            </a:r>
            <a:endParaRPr lang="en-US" dirty="0"/>
          </a:p>
        </p:txBody>
      </p:sp>
    </p:spTree>
    <p:extLst>
      <p:ext uri="{BB962C8B-B14F-4D97-AF65-F5344CB8AC3E}">
        <p14:creationId xmlns:p14="http://schemas.microsoft.com/office/powerpoint/2010/main" val="77068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8" grpId="0"/>
      <p:bldP spid="20" grpId="0"/>
      <p:bldP spid="22" grpId="0"/>
      <p:bldP spid="23" grpId="0"/>
    </p:bld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3" name="Picture 2" descr="A sign on a pole&#10;&#10;Description automatically generated with low confidence">
            <a:extLst>
              <a:ext uri="{FF2B5EF4-FFF2-40B4-BE49-F238E27FC236}">
                <a16:creationId xmlns:a16="http://schemas.microsoft.com/office/drawing/2014/main" id="{E8D17526-9730-1049-86D2-02C479D0FAB8}"/>
              </a:ext>
            </a:extLst>
          </p:cNvPr>
          <p:cNvPicPr>
            <a:picLocks noChangeAspect="1"/>
          </p:cNvPicPr>
          <p:nvPr/>
        </p:nvPicPr>
        <p:blipFill rotWithShape="1">
          <a:blip r:embed="rId3"/>
          <a:srcRect t="14580" b="6487"/>
          <a:stretch/>
        </p:blipFill>
        <p:spPr>
          <a:xfrm>
            <a:off x="20" y="1282"/>
            <a:ext cx="12191980" cy="6856718"/>
          </a:xfrm>
          <a:prstGeom prst="rect">
            <a:avLst/>
          </a:prstGeom>
        </p:spPr>
      </p:pic>
      <p:sp>
        <p:nvSpPr>
          <p:cNvPr id="4" name="TextBox 3">
            <a:extLst>
              <a:ext uri="{FF2B5EF4-FFF2-40B4-BE49-F238E27FC236}">
                <a16:creationId xmlns:a16="http://schemas.microsoft.com/office/drawing/2014/main" id="{75ED3BA6-381C-4946-982E-6184C3CEFD73}"/>
              </a:ext>
            </a:extLst>
          </p:cNvPr>
          <p:cNvSpPr txBox="1"/>
          <p:nvPr/>
        </p:nvSpPr>
        <p:spPr>
          <a:xfrm rot="166092">
            <a:off x="1407283" y="4115052"/>
            <a:ext cx="4142448" cy="923330"/>
          </a:xfrm>
          <a:prstGeom prst="rect">
            <a:avLst/>
          </a:prstGeom>
          <a:noFill/>
          <a:effectLst>
            <a:outerShdw blurRad="50800" dist="38100" dir="2700000" algn="tl" rotWithShape="0">
              <a:prstClr val="black">
                <a:alpha val="40000"/>
              </a:prstClr>
            </a:outerShdw>
          </a:effectLst>
          <a:scene3d>
            <a:camera prst="perspectiveFront">
              <a:rot lat="600000" lon="0" rev="0"/>
            </a:camera>
            <a:lightRig rig="threePt" dir="t"/>
          </a:scene3d>
          <a:sp3d z="63500"/>
        </p:spPr>
        <p:txBody>
          <a:bodyPr wrap="square" rtlCol="0">
            <a:spAutoFit/>
          </a:bodyPr>
          <a:lstStyle/>
          <a:p>
            <a:r>
              <a:rPr lang="en-US" sz="5400" dirty="0">
                <a:solidFill>
                  <a:schemeClr val="bg1"/>
                </a:solidFill>
              </a:rPr>
              <a:t>Questions Rd.</a:t>
            </a:r>
          </a:p>
        </p:txBody>
      </p:sp>
      <p:sp>
        <p:nvSpPr>
          <p:cNvPr id="6" name="TextBox 5">
            <a:extLst>
              <a:ext uri="{FF2B5EF4-FFF2-40B4-BE49-F238E27FC236}">
                <a16:creationId xmlns:a16="http://schemas.microsoft.com/office/drawing/2014/main" id="{9C7E2F13-7B07-7848-8FE5-3D7DD0FE9BD5}"/>
              </a:ext>
            </a:extLst>
          </p:cNvPr>
          <p:cNvSpPr txBox="1"/>
          <p:nvPr/>
        </p:nvSpPr>
        <p:spPr>
          <a:xfrm rot="20479219">
            <a:off x="7000999" y="2090308"/>
            <a:ext cx="4193874" cy="946476"/>
          </a:xfrm>
          <a:prstGeom prst="rect">
            <a:avLst/>
          </a:prstGeom>
          <a:noFill/>
          <a:effectLst>
            <a:outerShdw blurRad="50800" dist="38100" dir="2700000" algn="tl" rotWithShape="0">
              <a:prstClr val="black">
                <a:alpha val="40000"/>
              </a:prstClr>
            </a:outerShdw>
          </a:effectLst>
          <a:scene3d>
            <a:camera prst="perspectiveAbove">
              <a:rot lat="20400000" lon="0" rev="0"/>
            </a:camera>
            <a:lightRig rig="threePt" dir="t"/>
          </a:scene3d>
          <a:sp3d z="57150"/>
        </p:spPr>
        <p:txBody>
          <a:bodyPr wrap="square" rtlCol="0">
            <a:spAutoFit/>
          </a:bodyPr>
          <a:lstStyle/>
          <a:p>
            <a:r>
              <a:rPr lang="en-US" sz="5400" dirty="0">
                <a:solidFill>
                  <a:schemeClr val="bg1"/>
                </a:solidFill>
              </a:rPr>
              <a:t>Answers Ave.</a:t>
            </a:r>
          </a:p>
        </p:txBody>
      </p:sp>
    </p:spTree>
    <p:extLst>
      <p:ext uri="{BB962C8B-B14F-4D97-AF65-F5344CB8AC3E}">
        <p14:creationId xmlns:p14="http://schemas.microsoft.com/office/powerpoint/2010/main" val="25417778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F6B98-6E07-8042-B45B-554ED0BF3D3E}"/>
              </a:ext>
            </a:extLst>
          </p:cNvPr>
          <p:cNvSpPr>
            <a:spLocks noGrp="1"/>
          </p:cNvSpPr>
          <p:nvPr>
            <p:ph type="title"/>
          </p:nvPr>
        </p:nvSpPr>
        <p:spPr>
          <a:xfrm>
            <a:off x="481013" y="3752849"/>
            <a:ext cx="3290887" cy="2452687"/>
          </a:xfrm>
        </p:spPr>
        <p:txBody>
          <a:bodyPr anchor="ctr">
            <a:normAutofit/>
          </a:bodyPr>
          <a:lstStyle/>
          <a:p>
            <a:pPr algn="ctr"/>
            <a:r>
              <a:rPr lang="en-US" sz="3600" b="1" dirty="0"/>
              <a:t>Let’s take a trip down…</a:t>
            </a:r>
            <a:br>
              <a:rPr lang="en-US" sz="3600" dirty="0"/>
            </a:br>
            <a:br>
              <a:rPr lang="en-US" sz="3600" dirty="0"/>
            </a:br>
            <a:r>
              <a:rPr lang="en-US" sz="5400" b="1" dirty="0"/>
              <a:t>2017</a:t>
            </a:r>
          </a:p>
        </p:txBody>
      </p:sp>
      <p:pic>
        <p:nvPicPr>
          <p:cNvPr id="7" name="Picture 6" descr="A picture containing text, outdoor, sign, tree&#10;&#10;Description automatically generated">
            <a:extLst>
              <a:ext uri="{FF2B5EF4-FFF2-40B4-BE49-F238E27FC236}">
                <a16:creationId xmlns:a16="http://schemas.microsoft.com/office/drawing/2014/main" id="{087DFBD2-0572-7144-AC49-B5D7E1C46DFD}"/>
              </a:ext>
            </a:extLst>
          </p:cNvPr>
          <p:cNvPicPr>
            <a:picLocks noChangeAspect="1"/>
          </p:cNvPicPr>
          <p:nvPr/>
        </p:nvPicPr>
        <p:blipFill rotWithShape="1">
          <a:blip r:embed="rId3"/>
          <a:srcRect t="3466" b="35664"/>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2B175E2D-5EC2-7B42-97E9-53EAC1707DB8}"/>
              </a:ext>
            </a:extLst>
          </p:cNvPr>
          <p:cNvSpPr>
            <a:spLocks noGrp="1"/>
          </p:cNvSpPr>
          <p:nvPr>
            <p:ph idx="1"/>
          </p:nvPr>
        </p:nvSpPr>
        <p:spPr>
          <a:xfrm>
            <a:off x="4223982" y="3752850"/>
            <a:ext cx="7485413" cy="2452687"/>
          </a:xfrm>
        </p:spPr>
        <p:txBody>
          <a:bodyPr anchor="ctr">
            <a:normAutofit/>
          </a:bodyPr>
          <a:lstStyle/>
          <a:p>
            <a:r>
              <a:rPr lang="en-US" sz="1800" dirty="0"/>
              <a:t>100% manual testing </a:t>
            </a:r>
          </a:p>
          <a:p>
            <a:r>
              <a:rPr lang="en-US" sz="1800" dirty="0"/>
              <a:t>No standard process to documenting test cases</a:t>
            </a:r>
          </a:p>
          <a:p>
            <a:r>
              <a:rPr lang="en-US" sz="1800" dirty="0"/>
              <a:t>Outsourcing automation to vendor</a:t>
            </a:r>
          </a:p>
          <a:p>
            <a:r>
              <a:rPr lang="en-US" sz="1800" dirty="0"/>
              <a:t>No data to measure</a:t>
            </a:r>
          </a:p>
          <a:p>
            <a:r>
              <a:rPr lang="en-US" sz="1800" dirty="0"/>
              <a:t>Teams operating in waterfall or “</a:t>
            </a:r>
            <a:r>
              <a:rPr lang="en-US" sz="1800" dirty="0" err="1"/>
              <a:t>wagile</a:t>
            </a:r>
            <a:r>
              <a:rPr lang="en-US" sz="1800" dirty="0"/>
              <a:t>” process where QA was not embedded</a:t>
            </a:r>
          </a:p>
        </p:txBody>
      </p:sp>
    </p:spTree>
    <p:extLst>
      <p:ext uri="{BB962C8B-B14F-4D97-AF65-F5344CB8AC3E}">
        <p14:creationId xmlns:p14="http://schemas.microsoft.com/office/powerpoint/2010/main" val="3164411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6FCDB-503E-F547-AE00-7E4DEDED7473}"/>
              </a:ext>
            </a:extLst>
          </p:cNvPr>
          <p:cNvSpPr>
            <a:spLocks noGrp="1"/>
          </p:cNvSpPr>
          <p:nvPr>
            <p:ph type="title"/>
          </p:nvPr>
        </p:nvSpPr>
        <p:spPr>
          <a:xfrm>
            <a:off x="481013" y="3752849"/>
            <a:ext cx="3290887" cy="2452687"/>
          </a:xfrm>
        </p:spPr>
        <p:txBody>
          <a:bodyPr anchor="ctr">
            <a:normAutofit/>
          </a:bodyPr>
          <a:lstStyle/>
          <a:p>
            <a:pPr algn="ctr"/>
            <a:r>
              <a:rPr lang="en-US" sz="3600" b="1" dirty="0"/>
              <a:t>Challenges</a:t>
            </a:r>
          </a:p>
        </p:txBody>
      </p:sp>
      <p:pic>
        <p:nvPicPr>
          <p:cNvPr id="9" name="Picture 8" descr="A picture containing text, sign, tree, outdoor&#10;&#10;Description automatically generated">
            <a:extLst>
              <a:ext uri="{FF2B5EF4-FFF2-40B4-BE49-F238E27FC236}">
                <a16:creationId xmlns:a16="http://schemas.microsoft.com/office/drawing/2014/main" id="{BA3A1E88-1F88-7244-8131-6D48064789AE}"/>
              </a:ext>
            </a:extLst>
          </p:cNvPr>
          <p:cNvPicPr>
            <a:picLocks noChangeAspect="1"/>
          </p:cNvPicPr>
          <p:nvPr/>
        </p:nvPicPr>
        <p:blipFill rotWithShape="1">
          <a:blip r:embed="rId3"/>
          <a:srcRect t="16272" b="29621"/>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BD97FEB5-4A82-F74F-A3C9-1779DB817680}"/>
              </a:ext>
            </a:extLst>
          </p:cNvPr>
          <p:cNvSpPr>
            <a:spLocks noGrp="1"/>
          </p:cNvSpPr>
          <p:nvPr>
            <p:ph idx="1"/>
          </p:nvPr>
        </p:nvSpPr>
        <p:spPr>
          <a:xfrm>
            <a:off x="4225574" y="3542644"/>
            <a:ext cx="7485413" cy="3509798"/>
          </a:xfrm>
        </p:spPr>
        <p:txBody>
          <a:bodyPr anchor="ctr">
            <a:normAutofit fontScale="55000" lnSpcReduction="20000"/>
          </a:bodyPr>
          <a:lstStyle/>
          <a:p>
            <a:r>
              <a:rPr lang="en-US" sz="2200" dirty="0"/>
              <a:t>100% manual testing </a:t>
            </a:r>
          </a:p>
          <a:p>
            <a:pPr lvl="1"/>
            <a:r>
              <a:rPr lang="en-US" sz="2200" dirty="0"/>
              <a:t>Long test-cycles and test coverage was minimal due to fast release cycles</a:t>
            </a:r>
          </a:p>
          <a:p>
            <a:r>
              <a:rPr lang="en-US" sz="2200" dirty="0"/>
              <a:t>No standard process to documenting test cases</a:t>
            </a:r>
          </a:p>
          <a:p>
            <a:pPr lvl="1"/>
            <a:r>
              <a:rPr lang="en-US" sz="2200" dirty="0"/>
              <a:t>Tests not linked to User Stories/Requirements</a:t>
            </a:r>
          </a:p>
          <a:p>
            <a:pPr lvl="1"/>
            <a:r>
              <a:rPr lang="en-US" sz="2200" dirty="0"/>
              <a:t>Lack of consistency requires more work when moving/onboarding resources onto team</a:t>
            </a:r>
          </a:p>
          <a:p>
            <a:r>
              <a:rPr lang="en-US" sz="2200" dirty="0"/>
              <a:t>Outsourcing automation to vendor</a:t>
            </a:r>
          </a:p>
          <a:p>
            <a:pPr lvl="1"/>
            <a:r>
              <a:rPr lang="en-US" sz="2200" dirty="0"/>
              <a:t>Internal resources spent significant time transferring tribal knowledge </a:t>
            </a:r>
          </a:p>
          <a:p>
            <a:pPr lvl="1"/>
            <a:r>
              <a:rPr lang="en-US" sz="2200" dirty="0"/>
              <a:t>Code not architected in a modular fashion</a:t>
            </a:r>
          </a:p>
          <a:p>
            <a:pPr lvl="1"/>
            <a:r>
              <a:rPr lang="en-US" sz="2200" dirty="0"/>
              <a:t>Stale data to assert</a:t>
            </a:r>
          </a:p>
          <a:p>
            <a:r>
              <a:rPr lang="en-US" sz="2200" dirty="0"/>
              <a:t>No data to measure</a:t>
            </a:r>
          </a:p>
          <a:p>
            <a:pPr lvl="1"/>
            <a:r>
              <a:rPr lang="en-US" sz="2200" dirty="0"/>
              <a:t>Capacity planning</a:t>
            </a:r>
          </a:p>
          <a:p>
            <a:pPr lvl="1"/>
            <a:r>
              <a:rPr lang="en-US" sz="2200" dirty="0"/>
              <a:t>Testing metrics around quality of product</a:t>
            </a:r>
          </a:p>
          <a:p>
            <a:r>
              <a:rPr lang="en-US" sz="2200" dirty="0"/>
              <a:t>Teams operating in waterfall or “</a:t>
            </a:r>
            <a:r>
              <a:rPr lang="en-US" sz="2200" dirty="0" err="1"/>
              <a:t>wagile</a:t>
            </a:r>
            <a:r>
              <a:rPr lang="en-US" sz="2200" dirty="0"/>
              <a:t>” process where QA was not embedded</a:t>
            </a:r>
          </a:p>
          <a:p>
            <a:pPr lvl="1"/>
            <a:r>
              <a:rPr lang="en-US" sz="2200" dirty="0"/>
              <a:t>Issues found later in dev cycle cost more money </a:t>
            </a:r>
          </a:p>
          <a:p>
            <a:pPr lvl="1"/>
            <a:r>
              <a:rPr lang="en-US" sz="2200" dirty="0"/>
              <a:t>Reactive to requirements changes vs. proactive</a:t>
            </a:r>
          </a:p>
          <a:p>
            <a:pPr lvl="1"/>
            <a:r>
              <a:rPr lang="en-US" sz="2200" dirty="0"/>
              <a:t>Product often didn’t work when integrating multiple developments team’s code changes </a:t>
            </a:r>
          </a:p>
          <a:p>
            <a:endParaRPr lang="en-US" sz="500" dirty="0"/>
          </a:p>
        </p:txBody>
      </p:sp>
    </p:spTree>
    <p:extLst>
      <p:ext uri="{BB962C8B-B14F-4D97-AF65-F5344CB8AC3E}">
        <p14:creationId xmlns:p14="http://schemas.microsoft.com/office/powerpoint/2010/main" val="3677077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9" end="9"/>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
                                            <p:txEl>
                                              <p:pRg st="12" end="12"/>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3">
                                            <p:txEl>
                                              <p:pRg st="14" end="14"/>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3003711" y="2139869"/>
            <a:ext cx="9381737" cy="5023175"/>
            <a:chOff x="-3859698" y="1008495"/>
            <a:chExt cx="11034207" cy="6676202"/>
          </a:xfrm>
        </p:grpSpPr>
        <p:grpSp>
          <p:nvGrpSpPr>
            <p:cNvPr id="29" name="Group 28"/>
            <p:cNvGrpSpPr/>
            <p:nvPr/>
          </p:nvGrpSpPr>
          <p:grpSpPr>
            <a:xfrm>
              <a:off x="-322072" y="1008495"/>
              <a:ext cx="7496581" cy="6676202"/>
              <a:chOff x="-322072" y="1008495"/>
              <a:chExt cx="7496581" cy="6676202"/>
            </a:xfrm>
          </p:grpSpPr>
          <p:sp>
            <p:nvSpPr>
              <p:cNvPr id="30" name="Freeform 169"/>
              <p:cNvSpPr>
                <a:spLocks/>
              </p:cNvSpPr>
              <p:nvPr/>
            </p:nvSpPr>
            <p:spPr bwMode="auto">
              <a:xfrm>
                <a:off x="-285249" y="1127529"/>
                <a:ext cx="7401525" cy="6557168"/>
              </a:xfrm>
              <a:custGeom>
                <a:avLst/>
                <a:gdLst>
                  <a:gd name="T0" fmla="*/ 3643 w 3657"/>
                  <a:gd name="T1" fmla="*/ 2265 h 3238"/>
                  <a:gd name="T2" fmla="*/ 3625 w 3657"/>
                  <a:gd name="T3" fmla="*/ 2395 h 3238"/>
                  <a:gd name="T4" fmla="*/ 3619 w 3657"/>
                  <a:gd name="T5" fmla="*/ 2445 h 3238"/>
                  <a:gd name="T6" fmla="*/ 3653 w 3657"/>
                  <a:gd name="T7" fmla="*/ 2937 h 3238"/>
                  <a:gd name="T8" fmla="*/ 3644 w 3657"/>
                  <a:gd name="T9" fmla="*/ 3018 h 3238"/>
                  <a:gd name="T10" fmla="*/ 3583 w 3657"/>
                  <a:gd name="T11" fmla="*/ 3005 h 3238"/>
                  <a:gd name="T12" fmla="*/ 3514 w 3657"/>
                  <a:gd name="T13" fmla="*/ 2981 h 3238"/>
                  <a:gd name="T14" fmla="*/ 3361 w 3657"/>
                  <a:gd name="T15" fmla="*/ 3013 h 3238"/>
                  <a:gd name="T16" fmla="*/ 3118 w 3657"/>
                  <a:gd name="T17" fmla="*/ 3109 h 3238"/>
                  <a:gd name="T18" fmla="*/ 3066 w 3657"/>
                  <a:gd name="T19" fmla="*/ 3095 h 3238"/>
                  <a:gd name="T20" fmla="*/ 3023 w 3657"/>
                  <a:gd name="T21" fmla="*/ 3068 h 3238"/>
                  <a:gd name="T22" fmla="*/ 2804 w 3657"/>
                  <a:gd name="T23" fmla="*/ 3054 h 3238"/>
                  <a:gd name="T24" fmla="*/ 2732 w 3657"/>
                  <a:gd name="T25" fmla="*/ 3085 h 3238"/>
                  <a:gd name="T26" fmla="*/ 2197 w 3657"/>
                  <a:gd name="T27" fmla="*/ 2960 h 3238"/>
                  <a:gd name="T28" fmla="*/ 1900 w 3657"/>
                  <a:gd name="T29" fmla="*/ 2963 h 3238"/>
                  <a:gd name="T30" fmla="*/ 1829 w 3657"/>
                  <a:gd name="T31" fmla="*/ 2968 h 3238"/>
                  <a:gd name="T32" fmla="*/ 1696 w 3657"/>
                  <a:gd name="T33" fmla="*/ 2901 h 3238"/>
                  <a:gd name="T34" fmla="*/ 2030 w 3657"/>
                  <a:gd name="T35" fmla="*/ 2641 h 3238"/>
                  <a:gd name="T36" fmla="*/ 2094 w 3657"/>
                  <a:gd name="T37" fmla="*/ 2587 h 3238"/>
                  <a:gd name="T38" fmla="*/ 2154 w 3657"/>
                  <a:gd name="T39" fmla="*/ 2530 h 3238"/>
                  <a:gd name="T40" fmla="*/ 2292 w 3657"/>
                  <a:gd name="T41" fmla="*/ 2330 h 3238"/>
                  <a:gd name="T42" fmla="*/ 2324 w 3657"/>
                  <a:gd name="T43" fmla="*/ 2249 h 3238"/>
                  <a:gd name="T44" fmla="*/ 2349 w 3657"/>
                  <a:gd name="T45" fmla="*/ 1866 h 3238"/>
                  <a:gd name="T46" fmla="*/ 1824 w 3657"/>
                  <a:gd name="T47" fmla="*/ 1548 h 3238"/>
                  <a:gd name="T48" fmla="*/ 1060 w 3657"/>
                  <a:gd name="T49" fmla="*/ 1492 h 3238"/>
                  <a:gd name="T50" fmla="*/ 263 w 3657"/>
                  <a:gd name="T51" fmla="*/ 1128 h 3238"/>
                  <a:gd name="T52" fmla="*/ 258 w 3657"/>
                  <a:gd name="T53" fmla="*/ 997 h 3238"/>
                  <a:gd name="T54" fmla="*/ 317 w 3657"/>
                  <a:gd name="T55" fmla="*/ 881 h 3238"/>
                  <a:gd name="T56" fmla="*/ 738 w 3657"/>
                  <a:gd name="T57" fmla="*/ 631 h 3238"/>
                  <a:gd name="T58" fmla="*/ 915 w 3657"/>
                  <a:gd name="T59" fmla="*/ 576 h 3238"/>
                  <a:gd name="T60" fmla="*/ 1225 w 3657"/>
                  <a:gd name="T61" fmla="*/ 404 h 3238"/>
                  <a:gd name="T62" fmla="*/ 1170 w 3657"/>
                  <a:gd name="T63" fmla="*/ 345 h 3238"/>
                  <a:gd name="T64" fmla="*/ 772 w 3657"/>
                  <a:gd name="T65" fmla="*/ 259 h 3238"/>
                  <a:gd name="T66" fmla="*/ 335 w 3657"/>
                  <a:gd name="T67" fmla="*/ 238 h 3238"/>
                  <a:gd name="T68" fmla="*/ 78 w 3657"/>
                  <a:gd name="T69" fmla="*/ 227 h 3238"/>
                  <a:gd name="T70" fmla="*/ 49 w 3657"/>
                  <a:gd name="T71" fmla="*/ 127 h 3238"/>
                  <a:gd name="T72" fmla="*/ 25 w 3657"/>
                  <a:gd name="T73" fmla="*/ 67 h 3238"/>
                  <a:gd name="T74" fmla="*/ 7 w 3657"/>
                  <a:gd name="T75" fmla="*/ 15 h 3238"/>
                  <a:gd name="T76" fmla="*/ 92 w 3657"/>
                  <a:gd name="T77" fmla="*/ 2 h 3238"/>
                  <a:gd name="T78" fmla="*/ 114 w 3657"/>
                  <a:gd name="T79" fmla="*/ 3 h 3238"/>
                  <a:gd name="T80" fmla="*/ 361 w 3657"/>
                  <a:gd name="T81" fmla="*/ 10 h 3238"/>
                  <a:gd name="T82" fmla="*/ 851 w 3657"/>
                  <a:gd name="T83" fmla="*/ 65 h 3238"/>
                  <a:gd name="T84" fmla="*/ 865 w 3657"/>
                  <a:gd name="T85" fmla="*/ 67 h 3238"/>
                  <a:gd name="T86" fmla="*/ 1055 w 3657"/>
                  <a:gd name="T87" fmla="*/ 95 h 3238"/>
                  <a:gd name="T88" fmla="*/ 1450 w 3657"/>
                  <a:gd name="T89" fmla="*/ 183 h 3238"/>
                  <a:gd name="T90" fmla="*/ 1733 w 3657"/>
                  <a:gd name="T91" fmla="*/ 524 h 3238"/>
                  <a:gd name="T92" fmla="*/ 1362 w 3657"/>
                  <a:gd name="T93" fmla="*/ 752 h 3238"/>
                  <a:gd name="T94" fmla="*/ 933 w 3657"/>
                  <a:gd name="T95" fmla="*/ 921 h 3238"/>
                  <a:gd name="T96" fmla="*/ 958 w 3657"/>
                  <a:gd name="T97" fmla="*/ 1052 h 3238"/>
                  <a:gd name="T98" fmla="*/ 1477 w 3657"/>
                  <a:gd name="T99" fmla="*/ 1131 h 3238"/>
                  <a:gd name="T100" fmla="*/ 1552 w 3657"/>
                  <a:gd name="T101" fmla="*/ 1131 h 3238"/>
                  <a:gd name="T102" fmla="*/ 1751 w 3657"/>
                  <a:gd name="T103" fmla="*/ 1129 h 3238"/>
                  <a:gd name="T104" fmla="*/ 2044 w 3657"/>
                  <a:gd name="T105" fmla="*/ 1128 h 3238"/>
                  <a:gd name="T106" fmla="*/ 3624 w 3657"/>
                  <a:gd name="T107" fmla="*/ 2178 h 3238"/>
                  <a:gd name="T108" fmla="*/ 3643 w 3657"/>
                  <a:gd name="T109" fmla="*/ 2265 h 3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57" h="3238">
                    <a:moveTo>
                      <a:pt x="3643" y="2265"/>
                    </a:moveTo>
                    <a:cubicBezTo>
                      <a:pt x="3643" y="2265"/>
                      <a:pt x="3635" y="2320"/>
                      <a:pt x="3625" y="2395"/>
                    </a:cubicBezTo>
                    <a:cubicBezTo>
                      <a:pt x="3623" y="2411"/>
                      <a:pt x="3621" y="2427"/>
                      <a:pt x="3619" y="2445"/>
                    </a:cubicBezTo>
                    <a:cubicBezTo>
                      <a:pt x="3587" y="2607"/>
                      <a:pt x="3643" y="2769"/>
                      <a:pt x="3653" y="2937"/>
                    </a:cubicBezTo>
                    <a:cubicBezTo>
                      <a:pt x="3655" y="2967"/>
                      <a:pt x="3657" y="3000"/>
                      <a:pt x="3644" y="3018"/>
                    </a:cubicBezTo>
                    <a:cubicBezTo>
                      <a:pt x="3635" y="3032"/>
                      <a:pt x="3603" y="3014"/>
                      <a:pt x="3583" y="3005"/>
                    </a:cubicBezTo>
                    <a:cubicBezTo>
                      <a:pt x="3560" y="2996"/>
                      <a:pt x="3537" y="2987"/>
                      <a:pt x="3514" y="2981"/>
                    </a:cubicBezTo>
                    <a:cubicBezTo>
                      <a:pt x="3458" y="2967"/>
                      <a:pt x="3408" y="2988"/>
                      <a:pt x="3361" y="3013"/>
                    </a:cubicBezTo>
                    <a:cubicBezTo>
                      <a:pt x="3281" y="3058"/>
                      <a:pt x="3207" y="3118"/>
                      <a:pt x="3118" y="3109"/>
                    </a:cubicBezTo>
                    <a:cubicBezTo>
                      <a:pt x="3099" y="3108"/>
                      <a:pt x="3082" y="3103"/>
                      <a:pt x="3066" y="3095"/>
                    </a:cubicBezTo>
                    <a:cubicBezTo>
                      <a:pt x="3050" y="3088"/>
                      <a:pt x="3036" y="3079"/>
                      <a:pt x="3023" y="3068"/>
                    </a:cubicBezTo>
                    <a:cubicBezTo>
                      <a:pt x="2949" y="3020"/>
                      <a:pt x="2876" y="3028"/>
                      <a:pt x="2804" y="3054"/>
                    </a:cubicBezTo>
                    <a:cubicBezTo>
                      <a:pt x="2779" y="3063"/>
                      <a:pt x="2755" y="3074"/>
                      <a:pt x="2732" y="3085"/>
                    </a:cubicBezTo>
                    <a:cubicBezTo>
                      <a:pt x="2552" y="3238"/>
                      <a:pt x="2332" y="3162"/>
                      <a:pt x="2197" y="2960"/>
                    </a:cubicBezTo>
                    <a:cubicBezTo>
                      <a:pt x="2137" y="2872"/>
                      <a:pt x="1997" y="2937"/>
                      <a:pt x="1900" y="2963"/>
                    </a:cubicBezTo>
                    <a:cubicBezTo>
                      <a:pt x="1876" y="2968"/>
                      <a:pt x="1852" y="2970"/>
                      <a:pt x="1829" y="2968"/>
                    </a:cubicBezTo>
                    <a:cubicBezTo>
                      <a:pt x="1782" y="2964"/>
                      <a:pt x="1738" y="2945"/>
                      <a:pt x="1696" y="2901"/>
                    </a:cubicBezTo>
                    <a:cubicBezTo>
                      <a:pt x="1798" y="2809"/>
                      <a:pt x="1920" y="2729"/>
                      <a:pt x="2030" y="2641"/>
                    </a:cubicBezTo>
                    <a:cubicBezTo>
                      <a:pt x="2052" y="2623"/>
                      <a:pt x="2073" y="2605"/>
                      <a:pt x="2094" y="2587"/>
                    </a:cubicBezTo>
                    <a:cubicBezTo>
                      <a:pt x="2115" y="2568"/>
                      <a:pt x="2135" y="2550"/>
                      <a:pt x="2154" y="2530"/>
                    </a:cubicBezTo>
                    <a:cubicBezTo>
                      <a:pt x="2211" y="2471"/>
                      <a:pt x="2259" y="2406"/>
                      <a:pt x="2292" y="2330"/>
                    </a:cubicBezTo>
                    <a:cubicBezTo>
                      <a:pt x="2304" y="2303"/>
                      <a:pt x="2315" y="2277"/>
                      <a:pt x="2324" y="2249"/>
                    </a:cubicBezTo>
                    <a:cubicBezTo>
                      <a:pt x="2373" y="2114"/>
                      <a:pt x="2388" y="1973"/>
                      <a:pt x="2349" y="1866"/>
                    </a:cubicBezTo>
                    <a:cubicBezTo>
                      <a:pt x="2274" y="1654"/>
                      <a:pt x="2096" y="1579"/>
                      <a:pt x="1824" y="1548"/>
                    </a:cubicBezTo>
                    <a:cubicBezTo>
                      <a:pt x="1572" y="1519"/>
                      <a:pt x="1312" y="1523"/>
                      <a:pt x="1060" y="1492"/>
                    </a:cubicBezTo>
                    <a:cubicBezTo>
                      <a:pt x="771" y="1456"/>
                      <a:pt x="342" y="1382"/>
                      <a:pt x="263" y="1128"/>
                    </a:cubicBezTo>
                    <a:cubicBezTo>
                      <a:pt x="249" y="1082"/>
                      <a:pt x="248" y="1039"/>
                      <a:pt x="258" y="997"/>
                    </a:cubicBezTo>
                    <a:cubicBezTo>
                      <a:pt x="268" y="956"/>
                      <a:pt x="289" y="917"/>
                      <a:pt x="317" y="881"/>
                    </a:cubicBezTo>
                    <a:cubicBezTo>
                      <a:pt x="426" y="756"/>
                      <a:pt x="582" y="684"/>
                      <a:pt x="738" y="631"/>
                    </a:cubicBezTo>
                    <a:cubicBezTo>
                      <a:pt x="796" y="611"/>
                      <a:pt x="856" y="593"/>
                      <a:pt x="915" y="576"/>
                    </a:cubicBezTo>
                    <a:cubicBezTo>
                      <a:pt x="985" y="556"/>
                      <a:pt x="1261" y="511"/>
                      <a:pt x="1225" y="404"/>
                    </a:cubicBezTo>
                    <a:cubicBezTo>
                      <a:pt x="1216" y="378"/>
                      <a:pt x="1195" y="358"/>
                      <a:pt x="1170" y="345"/>
                    </a:cubicBezTo>
                    <a:cubicBezTo>
                      <a:pt x="1049" y="284"/>
                      <a:pt x="907" y="268"/>
                      <a:pt x="772" y="259"/>
                    </a:cubicBezTo>
                    <a:cubicBezTo>
                      <a:pt x="627" y="249"/>
                      <a:pt x="481" y="244"/>
                      <a:pt x="335" y="238"/>
                    </a:cubicBezTo>
                    <a:cubicBezTo>
                      <a:pt x="316" y="237"/>
                      <a:pt x="78" y="213"/>
                      <a:pt x="78" y="227"/>
                    </a:cubicBezTo>
                    <a:cubicBezTo>
                      <a:pt x="77" y="187"/>
                      <a:pt x="66" y="163"/>
                      <a:pt x="49" y="127"/>
                    </a:cubicBezTo>
                    <a:cubicBezTo>
                      <a:pt x="39" y="108"/>
                      <a:pt x="34" y="86"/>
                      <a:pt x="25" y="67"/>
                    </a:cubicBezTo>
                    <a:cubicBezTo>
                      <a:pt x="18" y="53"/>
                      <a:pt x="0" y="32"/>
                      <a:pt x="7" y="15"/>
                    </a:cubicBezTo>
                    <a:cubicBezTo>
                      <a:pt x="14" y="0"/>
                      <a:pt x="61" y="1"/>
                      <a:pt x="92" y="2"/>
                    </a:cubicBezTo>
                    <a:cubicBezTo>
                      <a:pt x="101" y="3"/>
                      <a:pt x="109" y="3"/>
                      <a:pt x="114" y="3"/>
                    </a:cubicBezTo>
                    <a:cubicBezTo>
                      <a:pt x="196" y="2"/>
                      <a:pt x="278" y="5"/>
                      <a:pt x="361" y="10"/>
                    </a:cubicBezTo>
                    <a:cubicBezTo>
                      <a:pt x="525" y="21"/>
                      <a:pt x="688" y="43"/>
                      <a:pt x="851" y="65"/>
                    </a:cubicBezTo>
                    <a:cubicBezTo>
                      <a:pt x="856" y="65"/>
                      <a:pt x="861" y="66"/>
                      <a:pt x="865" y="67"/>
                    </a:cubicBezTo>
                    <a:cubicBezTo>
                      <a:pt x="931" y="75"/>
                      <a:pt x="994" y="85"/>
                      <a:pt x="1055" y="95"/>
                    </a:cubicBezTo>
                    <a:cubicBezTo>
                      <a:pt x="1235" y="124"/>
                      <a:pt x="1389" y="157"/>
                      <a:pt x="1450" y="183"/>
                    </a:cubicBezTo>
                    <a:cubicBezTo>
                      <a:pt x="1623" y="256"/>
                      <a:pt x="1802" y="347"/>
                      <a:pt x="1733" y="524"/>
                    </a:cubicBezTo>
                    <a:cubicBezTo>
                      <a:pt x="1683" y="653"/>
                      <a:pt x="1520" y="713"/>
                      <a:pt x="1362" y="752"/>
                    </a:cubicBezTo>
                    <a:cubicBezTo>
                      <a:pt x="1249" y="780"/>
                      <a:pt x="990" y="833"/>
                      <a:pt x="933" y="921"/>
                    </a:cubicBezTo>
                    <a:cubicBezTo>
                      <a:pt x="905" y="964"/>
                      <a:pt x="918" y="1018"/>
                      <a:pt x="958" y="1052"/>
                    </a:cubicBezTo>
                    <a:cubicBezTo>
                      <a:pt x="1055" y="1133"/>
                      <a:pt x="1308" y="1132"/>
                      <a:pt x="1477" y="1131"/>
                    </a:cubicBezTo>
                    <a:cubicBezTo>
                      <a:pt x="1505" y="1131"/>
                      <a:pt x="1530" y="1131"/>
                      <a:pt x="1552" y="1131"/>
                    </a:cubicBezTo>
                    <a:cubicBezTo>
                      <a:pt x="1618" y="1132"/>
                      <a:pt x="1684" y="1130"/>
                      <a:pt x="1751" y="1129"/>
                    </a:cubicBezTo>
                    <a:cubicBezTo>
                      <a:pt x="1849" y="1126"/>
                      <a:pt x="1947" y="1123"/>
                      <a:pt x="2044" y="1128"/>
                    </a:cubicBezTo>
                    <a:cubicBezTo>
                      <a:pt x="2836" y="1171"/>
                      <a:pt x="3481" y="1598"/>
                      <a:pt x="3624" y="2178"/>
                    </a:cubicBezTo>
                    <a:cubicBezTo>
                      <a:pt x="3630" y="2203"/>
                      <a:pt x="3637" y="2233"/>
                      <a:pt x="3643" y="2265"/>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72"/>
              <p:cNvSpPr>
                <a:spLocks/>
              </p:cNvSpPr>
              <p:nvPr/>
            </p:nvSpPr>
            <p:spPr bwMode="auto">
              <a:xfrm>
                <a:off x="-285249" y="1100982"/>
                <a:ext cx="7401525" cy="6567444"/>
              </a:xfrm>
              <a:custGeom>
                <a:avLst/>
                <a:gdLst>
                  <a:gd name="T0" fmla="*/ 3643 w 3657"/>
                  <a:gd name="T1" fmla="*/ 2270 h 3243"/>
                  <a:gd name="T2" fmla="*/ 3625 w 3657"/>
                  <a:gd name="T3" fmla="*/ 2400 h 3243"/>
                  <a:gd name="T4" fmla="*/ 3619 w 3657"/>
                  <a:gd name="T5" fmla="*/ 2450 h 3243"/>
                  <a:gd name="T6" fmla="*/ 3653 w 3657"/>
                  <a:gd name="T7" fmla="*/ 2942 h 3243"/>
                  <a:gd name="T8" fmla="*/ 3644 w 3657"/>
                  <a:gd name="T9" fmla="*/ 3023 h 3243"/>
                  <a:gd name="T10" fmla="*/ 3583 w 3657"/>
                  <a:gd name="T11" fmla="*/ 3010 h 3243"/>
                  <a:gd name="T12" fmla="*/ 3514 w 3657"/>
                  <a:gd name="T13" fmla="*/ 2986 h 3243"/>
                  <a:gd name="T14" fmla="*/ 3361 w 3657"/>
                  <a:gd name="T15" fmla="*/ 3018 h 3243"/>
                  <a:gd name="T16" fmla="*/ 3118 w 3657"/>
                  <a:gd name="T17" fmla="*/ 3114 h 3243"/>
                  <a:gd name="T18" fmla="*/ 3066 w 3657"/>
                  <a:gd name="T19" fmla="*/ 3100 h 3243"/>
                  <a:gd name="T20" fmla="*/ 3023 w 3657"/>
                  <a:gd name="T21" fmla="*/ 3073 h 3243"/>
                  <a:gd name="T22" fmla="*/ 2804 w 3657"/>
                  <a:gd name="T23" fmla="*/ 3059 h 3243"/>
                  <a:gd name="T24" fmla="*/ 2732 w 3657"/>
                  <a:gd name="T25" fmla="*/ 3090 h 3243"/>
                  <a:gd name="T26" fmla="*/ 2197 w 3657"/>
                  <a:gd name="T27" fmla="*/ 2964 h 3243"/>
                  <a:gd name="T28" fmla="*/ 1900 w 3657"/>
                  <a:gd name="T29" fmla="*/ 2968 h 3243"/>
                  <a:gd name="T30" fmla="*/ 1829 w 3657"/>
                  <a:gd name="T31" fmla="*/ 2973 h 3243"/>
                  <a:gd name="T32" fmla="*/ 1696 w 3657"/>
                  <a:gd name="T33" fmla="*/ 2906 h 3243"/>
                  <a:gd name="T34" fmla="*/ 2030 w 3657"/>
                  <a:gd name="T35" fmla="*/ 2646 h 3243"/>
                  <a:gd name="T36" fmla="*/ 2094 w 3657"/>
                  <a:gd name="T37" fmla="*/ 2592 h 3243"/>
                  <a:gd name="T38" fmla="*/ 2154 w 3657"/>
                  <a:gd name="T39" fmla="*/ 2535 h 3243"/>
                  <a:gd name="T40" fmla="*/ 2292 w 3657"/>
                  <a:gd name="T41" fmla="*/ 2335 h 3243"/>
                  <a:gd name="T42" fmla="*/ 2324 w 3657"/>
                  <a:gd name="T43" fmla="*/ 2254 h 3243"/>
                  <a:gd name="T44" fmla="*/ 2349 w 3657"/>
                  <a:gd name="T45" fmla="*/ 1871 h 3243"/>
                  <a:gd name="T46" fmla="*/ 1824 w 3657"/>
                  <a:gd name="T47" fmla="*/ 1553 h 3243"/>
                  <a:gd name="T48" fmla="*/ 1060 w 3657"/>
                  <a:gd name="T49" fmla="*/ 1497 h 3243"/>
                  <a:gd name="T50" fmla="*/ 263 w 3657"/>
                  <a:gd name="T51" fmla="*/ 1133 h 3243"/>
                  <a:gd name="T52" fmla="*/ 258 w 3657"/>
                  <a:gd name="T53" fmla="*/ 1002 h 3243"/>
                  <a:gd name="T54" fmla="*/ 317 w 3657"/>
                  <a:gd name="T55" fmla="*/ 886 h 3243"/>
                  <a:gd name="T56" fmla="*/ 738 w 3657"/>
                  <a:gd name="T57" fmla="*/ 636 h 3243"/>
                  <a:gd name="T58" fmla="*/ 915 w 3657"/>
                  <a:gd name="T59" fmla="*/ 581 h 3243"/>
                  <a:gd name="T60" fmla="*/ 1225 w 3657"/>
                  <a:gd name="T61" fmla="*/ 409 h 3243"/>
                  <a:gd name="T62" fmla="*/ 1170 w 3657"/>
                  <a:gd name="T63" fmla="*/ 350 h 3243"/>
                  <a:gd name="T64" fmla="*/ 772 w 3657"/>
                  <a:gd name="T65" fmla="*/ 264 h 3243"/>
                  <a:gd name="T66" fmla="*/ 335 w 3657"/>
                  <a:gd name="T67" fmla="*/ 243 h 3243"/>
                  <a:gd name="T68" fmla="*/ 78 w 3657"/>
                  <a:gd name="T69" fmla="*/ 232 h 3243"/>
                  <a:gd name="T70" fmla="*/ 49 w 3657"/>
                  <a:gd name="T71" fmla="*/ 132 h 3243"/>
                  <a:gd name="T72" fmla="*/ 25 w 3657"/>
                  <a:gd name="T73" fmla="*/ 72 h 3243"/>
                  <a:gd name="T74" fmla="*/ 7 w 3657"/>
                  <a:gd name="T75" fmla="*/ 20 h 3243"/>
                  <a:gd name="T76" fmla="*/ 114 w 3657"/>
                  <a:gd name="T77" fmla="*/ 8 h 3243"/>
                  <a:gd name="T78" fmla="*/ 361 w 3657"/>
                  <a:gd name="T79" fmla="*/ 15 h 3243"/>
                  <a:gd name="T80" fmla="*/ 851 w 3657"/>
                  <a:gd name="T81" fmla="*/ 70 h 3243"/>
                  <a:gd name="T82" fmla="*/ 865 w 3657"/>
                  <a:gd name="T83" fmla="*/ 72 h 3243"/>
                  <a:gd name="T84" fmla="*/ 1055 w 3657"/>
                  <a:gd name="T85" fmla="*/ 100 h 3243"/>
                  <a:gd name="T86" fmla="*/ 1450 w 3657"/>
                  <a:gd name="T87" fmla="*/ 187 h 3243"/>
                  <a:gd name="T88" fmla="*/ 1733 w 3657"/>
                  <a:gd name="T89" fmla="*/ 529 h 3243"/>
                  <a:gd name="T90" fmla="*/ 1362 w 3657"/>
                  <a:gd name="T91" fmla="*/ 757 h 3243"/>
                  <a:gd name="T92" fmla="*/ 933 w 3657"/>
                  <a:gd name="T93" fmla="*/ 926 h 3243"/>
                  <a:gd name="T94" fmla="*/ 958 w 3657"/>
                  <a:gd name="T95" fmla="*/ 1057 h 3243"/>
                  <a:gd name="T96" fmla="*/ 1552 w 3657"/>
                  <a:gd name="T97" fmla="*/ 1136 h 3243"/>
                  <a:gd name="T98" fmla="*/ 2044 w 3657"/>
                  <a:gd name="T99" fmla="*/ 1133 h 3243"/>
                  <a:gd name="T100" fmla="*/ 3624 w 3657"/>
                  <a:gd name="T101" fmla="*/ 2183 h 3243"/>
                  <a:gd name="T102" fmla="*/ 3643 w 3657"/>
                  <a:gd name="T103" fmla="*/ 227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57" h="3243">
                    <a:moveTo>
                      <a:pt x="3643" y="2270"/>
                    </a:moveTo>
                    <a:cubicBezTo>
                      <a:pt x="3643" y="2270"/>
                      <a:pt x="3635" y="2325"/>
                      <a:pt x="3625" y="2400"/>
                    </a:cubicBezTo>
                    <a:cubicBezTo>
                      <a:pt x="3623" y="2416"/>
                      <a:pt x="3621" y="2432"/>
                      <a:pt x="3619" y="2450"/>
                    </a:cubicBezTo>
                    <a:cubicBezTo>
                      <a:pt x="3587" y="2612"/>
                      <a:pt x="3643" y="2774"/>
                      <a:pt x="3653" y="2942"/>
                    </a:cubicBezTo>
                    <a:cubicBezTo>
                      <a:pt x="3655" y="2972"/>
                      <a:pt x="3657" y="3005"/>
                      <a:pt x="3644" y="3023"/>
                    </a:cubicBezTo>
                    <a:cubicBezTo>
                      <a:pt x="3635" y="3037"/>
                      <a:pt x="3603" y="3019"/>
                      <a:pt x="3583" y="3010"/>
                    </a:cubicBezTo>
                    <a:cubicBezTo>
                      <a:pt x="3560" y="3001"/>
                      <a:pt x="3537" y="2992"/>
                      <a:pt x="3514" y="2986"/>
                    </a:cubicBezTo>
                    <a:cubicBezTo>
                      <a:pt x="3458" y="2972"/>
                      <a:pt x="3408" y="2993"/>
                      <a:pt x="3361" y="3018"/>
                    </a:cubicBezTo>
                    <a:cubicBezTo>
                      <a:pt x="3281" y="3063"/>
                      <a:pt x="3207" y="3123"/>
                      <a:pt x="3118" y="3114"/>
                    </a:cubicBezTo>
                    <a:cubicBezTo>
                      <a:pt x="3099" y="3113"/>
                      <a:pt x="3082" y="3108"/>
                      <a:pt x="3066" y="3100"/>
                    </a:cubicBezTo>
                    <a:cubicBezTo>
                      <a:pt x="3050" y="3093"/>
                      <a:pt x="3036" y="3084"/>
                      <a:pt x="3023" y="3073"/>
                    </a:cubicBezTo>
                    <a:cubicBezTo>
                      <a:pt x="2949" y="3025"/>
                      <a:pt x="2876" y="3033"/>
                      <a:pt x="2804" y="3059"/>
                    </a:cubicBezTo>
                    <a:cubicBezTo>
                      <a:pt x="2779" y="3068"/>
                      <a:pt x="2755" y="3079"/>
                      <a:pt x="2732" y="3090"/>
                    </a:cubicBezTo>
                    <a:cubicBezTo>
                      <a:pt x="2552" y="3243"/>
                      <a:pt x="2332" y="3167"/>
                      <a:pt x="2197" y="2964"/>
                    </a:cubicBezTo>
                    <a:cubicBezTo>
                      <a:pt x="2137" y="2877"/>
                      <a:pt x="1997" y="2942"/>
                      <a:pt x="1900" y="2968"/>
                    </a:cubicBezTo>
                    <a:cubicBezTo>
                      <a:pt x="1876" y="2973"/>
                      <a:pt x="1852" y="2975"/>
                      <a:pt x="1829" y="2973"/>
                    </a:cubicBezTo>
                    <a:cubicBezTo>
                      <a:pt x="1782" y="2969"/>
                      <a:pt x="1738" y="2950"/>
                      <a:pt x="1696" y="2906"/>
                    </a:cubicBezTo>
                    <a:cubicBezTo>
                      <a:pt x="1798" y="2814"/>
                      <a:pt x="1920" y="2734"/>
                      <a:pt x="2030" y="2646"/>
                    </a:cubicBezTo>
                    <a:cubicBezTo>
                      <a:pt x="2052" y="2628"/>
                      <a:pt x="2073" y="2610"/>
                      <a:pt x="2094" y="2592"/>
                    </a:cubicBezTo>
                    <a:cubicBezTo>
                      <a:pt x="2115" y="2573"/>
                      <a:pt x="2135" y="2554"/>
                      <a:pt x="2154" y="2535"/>
                    </a:cubicBezTo>
                    <a:cubicBezTo>
                      <a:pt x="2211" y="2476"/>
                      <a:pt x="2259" y="2411"/>
                      <a:pt x="2292" y="2335"/>
                    </a:cubicBezTo>
                    <a:cubicBezTo>
                      <a:pt x="2304" y="2308"/>
                      <a:pt x="2315" y="2281"/>
                      <a:pt x="2324" y="2254"/>
                    </a:cubicBezTo>
                    <a:cubicBezTo>
                      <a:pt x="2373" y="2119"/>
                      <a:pt x="2388" y="1978"/>
                      <a:pt x="2349" y="1871"/>
                    </a:cubicBezTo>
                    <a:cubicBezTo>
                      <a:pt x="2274" y="1659"/>
                      <a:pt x="2096" y="1584"/>
                      <a:pt x="1824" y="1553"/>
                    </a:cubicBezTo>
                    <a:cubicBezTo>
                      <a:pt x="1572" y="1524"/>
                      <a:pt x="1312" y="1528"/>
                      <a:pt x="1060" y="1497"/>
                    </a:cubicBezTo>
                    <a:cubicBezTo>
                      <a:pt x="771" y="1461"/>
                      <a:pt x="342" y="1387"/>
                      <a:pt x="263" y="1133"/>
                    </a:cubicBezTo>
                    <a:cubicBezTo>
                      <a:pt x="249" y="1087"/>
                      <a:pt x="248" y="1043"/>
                      <a:pt x="258" y="1002"/>
                    </a:cubicBezTo>
                    <a:cubicBezTo>
                      <a:pt x="268" y="961"/>
                      <a:pt x="289" y="922"/>
                      <a:pt x="317" y="886"/>
                    </a:cubicBezTo>
                    <a:cubicBezTo>
                      <a:pt x="426" y="761"/>
                      <a:pt x="582" y="689"/>
                      <a:pt x="738" y="636"/>
                    </a:cubicBezTo>
                    <a:cubicBezTo>
                      <a:pt x="796" y="615"/>
                      <a:pt x="856" y="598"/>
                      <a:pt x="915" y="581"/>
                    </a:cubicBezTo>
                    <a:cubicBezTo>
                      <a:pt x="985" y="561"/>
                      <a:pt x="1261" y="516"/>
                      <a:pt x="1225" y="409"/>
                    </a:cubicBezTo>
                    <a:cubicBezTo>
                      <a:pt x="1216" y="383"/>
                      <a:pt x="1195" y="363"/>
                      <a:pt x="1170" y="350"/>
                    </a:cubicBezTo>
                    <a:cubicBezTo>
                      <a:pt x="1049" y="289"/>
                      <a:pt x="907" y="273"/>
                      <a:pt x="772" y="264"/>
                    </a:cubicBezTo>
                    <a:cubicBezTo>
                      <a:pt x="627" y="254"/>
                      <a:pt x="481" y="249"/>
                      <a:pt x="335" y="243"/>
                    </a:cubicBezTo>
                    <a:cubicBezTo>
                      <a:pt x="316" y="242"/>
                      <a:pt x="78" y="218"/>
                      <a:pt x="78" y="232"/>
                    </a:cubicBezTo>
                    <a:cubicBezTo>
                      <a:pt x="77" y="192"/>
                      <a:pt x="66" y="168"/>
                      <a:pt x="49" y="132"/>
                    </a:cubicBezTo>
                    <a:cubicBezTo>
                      <a:pt x="39" y="113"/>
                      <a:pt x="34" y="91"/>
                      <a:pt x="25" y="72"/>
                    </a:cubicBezTo>
                    <a:cubicBezTo>
                      <a:pt x="18" y="58"/>
                      <a:pt x="0" y="37"/>
                      <a:pt x="7" y="20"/>
                    </a:cubicBezTo>
                    <a:cubicBezTo>
                      <a:pt x="16" y="0"/>
                      <a:pt x="93" y="8"/>
                      <a:pt x="114" y="8"/>
                    </a:cubicBezTo>
                    <a:cubicBezTo>
                      <a:pt x="196" y="7"/>
                      <a:pt x="278" y="9"/>
                      <a:pt x="361" y="15"/>
                    </a:cubicBezTo>
                    <a:cubicBezTo>
                      <a:pt x="525" y="26"/>
                      <a:pt x="688" y="48"/>
                      <a:pt x="851" y="70"/>
                    </a:cubicBezTo>
                    <a:cubicBezTo>
                      <a:pt x="856" y="70"/>
                      <a:pt x="861" y="71"/>
                      <a:pt x="865" y="72"/>
                    </a:cubicBezTo>
                    <a:cubicBezTo>
                      <a:pt x="931" y="80"/>
                      <a:pt x="994" y="90"/>
                      <a:pt x="1055" y="100"/>
                    </a:cubicBezTo>
                    <a:cubicBezTo>
                      <a:pt x="1235" y="129"/>
                      <a:pt x="1389" y="162"/>
                      <a:pt x="1450" y="187"/>
                    </a:cubicBezTo>
                    <a:cubicBezTo>
                      <a:pt x="1623" y="261"/>
                      <a:pt x="1802" y="352"/>
                      <a:pt x="1733" y="529"/>
                    </a:cubicBezTo>
                    <a:cubicBezTo>
                      <a:pt x="1683" y="657"/>
                      <a:pt x="1520" y="718"/>
                      <a:pt x="1362" y="757"/>
                    </a:cubicBezTo>
                    <a:cubicBezTo>
                      <a:pt x="1249" y="785"/>
                      <a:pt x="990" y="838"/>
                      <a:pt x="933" y="926"/>
                    </a:cubicBezTo>
                    <a:cubicBezTo>
                      <a:pt x="905" y="969"/>
                      <a:pt x="918" y="1023"/>
                      <a:pt x="958" y="1057"/>
                    </a:cubicBezTo>
                    <a:cubicBezTo>
                      <a:pt x="1070" y="1151"/>
                      <a:pt x="1393" y="1135"/>
                      <a:pt x="1552" y="1136"/>
                    </a:cubicBezTo>
                    <a:cubicBezTo>
                      <a:pt x="1715" y="1138"/>
                      <a:pt x="1882" y="1125"/>
                      <a:pt x="2044" y="1133"/>
                    </a:cubicBezTo>
                    <a:cubicBezTo>
                      <a:pt x="2836" y="1176"/>
                      <a:pt x="3481" y="1603"/>
                      <a:pt x="3624" y="2183"/>
                    </a:cubicBezTo>
                    <a:cubicBezTo>
                      <a:pt x="3630" y="2208"/>
                      <a:pt x="3637" y="2238"/>
                      <a:pt x="3643" y="2270"/>
                    </a:cubicBezTo>
                    <a:close/>
                  </a:path>
                </a:pathLst>
              </a:custGeom>
              <a:solidFill>
                <a:schemeClr val="tx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73"/>
              <p:cNvSpPr>
                <a:spLocks/>
              </p:cNvSpPr>
              <p:nvPr/>
            </p:nvSpPr>
            <p:spPr bwMode="auto">
              <a:xfrm>
                <a:off x="-322072" y="1032473"/>
                <a:ext cx="7496581" cy="6566588"/>
              </a:xfrm>
              <a:custGeom>
                <a:avLst/>
                <a:gdLst>
                  <a:gd name="T0" fmla="*/ 3666 w 3704"/>
                  <a:gd name="T1" fmla="*/ 2260 h 3243"/>
                  <a:gd name="T2" fmla="*/ 3636 w 3704"/>
                  <a:gd name="T3" fmla="*/ 2488 h 3243"/>
                  <a:gd name="T4" fmla="*/ 3629 w 3704"/>
                  <a:gd name="T5" fmla="*/ 2551 h 3243"/>
                  <a:gd name="T6" fmla="*/ 3626 w 3704"/>
                  <a:gd name="T7" fmla="*/ 2635 h 3243"/>
                  <a:gd name="T8" fmla="*/ 3656 w 3704"/>
                  <a:gd name="T9" fmla="*/ 3016 h 3243"/>
                  <a:gd name="T10" fmla="*/ 3615 w 3704"/>
                  <a:gd name="T11" fmla="*/ 3009 h 3243"/>
                  <a:gd name="T12" fmla="*/ 3551 w 3704"/>
                  <a:gd name="T13" fmla="*/ 2983 h 3243"/>
                  <a:gd name="T14" fmla="*/ 3440 w 3704"/>
                  <a:gd name="T15" fmla="*/ 2989 h 3243"/>
                  <a:gd name="T16" fmla="*/ 3145 w 3704"/>
                  <a:gd name="T17" fmla="*/ 3105 h 3243"/>
                  <a:gd name="T18" fmla="*/ 3073 w 3704"/>
                  <a:gd name="T19" fmla="*/ 3085 h 3243"/>
                  <a:gd name="T20" fmla="*/ 2826 w 3704"/>
                  <a:gd name="T21" fmla="*/ 3050 h 3243"/>
                  <a:gd name="T22" fmla="*/ 2771 w 3704"/>
                  <a:gd name="T23" fmla="*/ 3072 h 3243"/>
                  <a:gd name="T24" fmla="*/ 2386 w 3704"/>
                  <a:gd name="T25" fmla="*/ 3139 h 3243"/>
                  <a:gd name="T26" fmla="*/ 2262 w 3704"/>
                  <a:gd name="T27" fmla="*/ 2952 h 3243"/>
                  <a:gd name="T28" fmla="*/ 1897 w 3704"/>
                  <a:gd name="T29" fmla="*/ 2970 h 3243"/>
                  <a:gd name="T30" fmla="*/ 1813 w 3704"/>
                  <a:gd name="T31" fmla="*/ 2969 h 3243"/>
                  <a:gd name="T32" fmla="*/ 1745 w 3704"/>
                  <a:gd name="T33" fmla="*/ 2907 h 3243"/>
                  <a:gd name="T34" fmla="*/ 2373 w 3704"/>
                  <a:gd name="T35" fmla="*/ 1861 h 3243"/>
                  <a:gd name="T36" fmla="*/ 1848 w 3704"/>
                  <a:gd name="T37" fmla="*/ 1543 h 3243"/>
                  <a:gd name="T38" fmla="*/ 1084 w 3704"/>
                  <a:gd name="T39" fmla="*/ 1487 h 3243"/>
                  <a:gd name="T40" fmla="*/ 287 w 3704"/>
                  <a:gd name="T41" fmla="*/ 1123 h 3243"/>
                  <a:gd name="T42" fmla="*/ 282 w 3704"/>
                  <a:gd name="T43" fmla="*/ 992 h 3243"/>
                  <a:gd name="T44" fmla="*/ 734 w 3704"/>
                  <a:gd name="T45" fmla="*/ 632 h 3243"/>
                  <a:gd name="T46" fmla="*/ 1252 w 3704"/>
                  <a:gd name="T47" fmla="*/ 396 h 3243"/>
                  <a:gd name="T48" fmla="*/ 851 w 3704"/>
                  <a:gd name="T49" fmla="*/ 253 h 3243"/>
                  <a:gd name="T50" fmla="*/ 173 w 3704"/>
                  <a:gd name="T51" fmla="*/ 204 h 3243"/>
                  <a:gd name="T52" fmla="*/ 94 w 3704"/>
                  <a:gd name="T53" fmla="*/ 202 h 3243"/>
                  <a:gd name="T54" fmla="*/ 49 w 3704"/>
                  <a:gd name="T55" fmla="*/ 93 h 3243"/>
                  <a:gd name="T56" fmla="*/ 0 w 3704"/>
                  <a:gd name="T57" fmla="*/ 4 h 3243"/>
                  <a:gd name="T58" fmla="*/ 216 w 3704"/>
                  <a:gd name="T59" fmla="*/ 2 h 3243"/>
                  <a:gd name="T60" fmla="*/ 832 w 3704"/>
                  <a:gd name="T61" fmla="*/ 45 h 3243"/>
                  <a:gd name="T62" fmla="*/ 1346 w 3704"/>
                  <a:gd name="T63" fmla="*/ 131 h 3243"/>
                  <a:gd name="T64" fmla="*/ 1729 w 3704"/>
                  <a:gd name="T65" fmla="*/ 322 h 3243"/>
                  <a:gd name="T66" fmla="*/ 1756 w 3704"/>
                  <a:gd name="T67" fmla="*/ 519 h 3243"/>
                  <a:gd name="T68" fmla="*/ 1386 w 3704"/>
                  <a:gd name="T69" fmla="*/ 747 h 3243"/>
                  <a:gd name="T70" fmla="*/ 957 w 3704"/>
                  <a:gd name="T71" fmla="*/ 916 h 3243"/>
                  <a:gd name="T72" fmla="*/ 982 w 3704"/>
                  <a:gd name="T73" fmla="*/ 1047 h 3243"/>
                  <a:gd name="T74" fmla="*/ 1575 w 3704"/>
                  <a:gd name="T75" fmla="*/ 1127 h 3243"/>
                  <a:gd name="T76" fmla="*/ 2067 w 3704"/>
                  <a:gd name="T77" fmla="*/ 1124 h 3243"/>
                  <a:gd name="T78" fmla="*/ 3648 w 3704"/>
                  <a:gd name="T79" fmla="*/ 2173 h 3243"/>
                  <a:gd name="T80" fmla="*/ 3666 w 3704"/>
                  <a:gd name="T81"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04" h="3243">
                    <a:moveTo>
                      <a:pt x="3666" y="2260"/>
                    </a:moveTo>
                    <a:cubicBezTo>
                      <a:pt x="3666" y="2260"/>
                      <a:pt x="3652" y="2367"/>
                      <a:pt x="3636" y="2488"/>
                    </a:cubicBezTo>
                    <a:cubicBezTo>
                      <a:pt x="3633" y="2511"/>
                      <a:pt x="3631" y="2530"/>
                      <a:pt x="3629" y="2551"/>
                    </a:cubicBezTo>
                    <a:cubicBezTo>
                      <a:pt x="3622" y="2578"/>
                      <a:pt x="3628" y="2609"/>
                      <a:pt x="3626" y="2635"/>
                    </a:cubicBezTo>
                    <a:cubicBezTo>
                      <a:pt x="3635" y="2765"/>
                      <a:pt x="3704" y="2898"/>
                      <a:pt x="3656" y="3016"/>
                    </a:cubicBezTo>
                    <a:cubicBezTo>
                      <a:pt x="3654" y="3022"/>
                      <a:pt x="3636" y="3017"/>
                      <a:pt x="3615" y="3009"/>
                    </a:cubicBezTo>
                    <a:cubicBezTo>
                      <a:pt x="3594" y="3001"/>
                      <a:pt x="3569" y="2990"/>
                      <a:pt x="3551" y="2983"/>
                    </a:cubicBezTo>
                    <a:cubicBezTo>
                      <a:pt x="3515" y="2970"/>
                      <a:pt x="3474" y="2977"/>
                      <a:pt x="3440" y="2989"/>
                    </a:cubicBezTo>
                    <a:cubicBezTo>
                      <a:pt x="3351" y="3022"/>
                      <a:pt x="3242" y="3109"/>
                      <a:pt x="3145" y="3105"/>
                    </a:cubicBezTo>
                    <a:cubicBezTo>
                      <a:pt x="3121" y="3105"/>
                      <a:pt x="3097" y="3098"/>
                      <a:pt x="3073" y="3085"/>
                    </a:cubicBezTo>
                    <a:cubicBezTo>
                      <a:pt x="2999" y="3033"/>
                      <a:pt x="2910" y="3021"/>
                      <a:pt x="2826" y="3050"/>
                    </a:cubicBezTo>
                    <a:cubicBezTo>
                      <a:pt x="2808" y="3056"/>
                      <a:pt x="2790" y="3063"/>
                      <a:pt x="2771" y="3072"/>
                    </a:cubicBezTo>
                    <a:cubicBezTo>
                      <a:pt x="2661" y="3127"/>
                      <a:pt x="2507" y="3243"/>
                      <a:pt x="2386" y="3139"/>
                    </a:cubicBezTo>
                    <a:cubicBezTo>
                      <a:pt x="2324" y="3088"/>
                      <a:pt x="2321" y="3002"/>
                      <a:pt x="2262" y="2952"/>
                    </a:cubicBezTo>
                    <a:cubicBezTo>
                      <a:pt x="2153" y="2864"/>
                      <a:pt x="2013" y="2936"/>
                      <a:pt x="1897" y="2970"/>
                    </a:cubicBezTo>
                    <a:cubicBezTo>
                      <a:pt x="1868" y="2973"/>
                      <a:pt x="1839" y="2973"/>
                      <a:pt x="1813" y="2969"/>
                    </a:cubicBezTo>
                    <a:cubicBezTo>
                      <a:pt x="1762" y="2961"/>
                      <a:pt x="1726" y="2939"/>
                      <a:pt x="1745" y="2907"/>
                    </a:cubicBezTo>
                    <a:cubicBezTo>
                      <a:pt x="1825" y="2769"/>
                      <a:pt x="2556" y="2259"/>
                      <a:pt x="2373" y="1861"/>
                    </a:cubicBezTo>
                    <a:cubicBezTo>
                      <a:pt x="2279" y="1657"/>
                      <a:pt x="2119" y="1574"/>
                      <a:pt x="1848" y="1543"/>
                    </a:cubicBezTo>
                    <a:cubicBezTo>
                      <a:pt x="1596" y="1514"/>
                      <a:pt x="1336" y="1518"/>
                      <a:pt x="1084" y="1487"/>
                    </a:cubicBezTo>
                    <a:cubicBezTo>
                      <a:pt x="795" y="1451"/>
                      <a:pt x="366" y="1377"/>
                      <a:pt x="287" y="1123"/>
                    </a:cubicBezTo>
                    <a:cubicBezTo>
                      <a:pt x="273" y="1077"/>
                      <a:pt x="272" y="1034"/>
                      <a:pt x="282" y="992"/>
                    </a:cubicBezTo>
                    <a:cubicBezTo>
                      <a:pt x="329" y="794"/>
                      <a:pt x="555" y="678"/>
                      <a:pt x="734" y="632"/>
                    </a:cubicBezTo>
                    <a:cubicBezTo>
                      <a:pt x="825" y="608"/>
                      <a:pt x="1300" y="526"/>
                      <a:pt x="1252" y="396"/>
                    </a:cubicBezTo>
                    <a:cubicBezTo>
                      <a:pt x="1205" y="269"/>
                      <a:pt x="959" y="263"/>
                      <a:pt x="851" y="253"/>
                    </a:cubicBezTo>
                    <a:cubicBezTo>
                      <a:pt x="624" y="234"/>
                      <a:pt x="398" y="230"/>
                      <a:pt x="173" y="204"/>
                    </a:cubicBezTo>
                    <a:cubicBezTo>
                      <a:pt x="148" y="202"/>
                      <a:pt x="118" y="193"/>
                      <a:pt x="94" y="202"/>
                    </a:cubicBezTo>
                    <a:cubicBezTo>
                      <a:pt x="86" y="166"/>
                      <a:pt x="73" y="122"/>
                      <a:pt x="49" y="93"/>
                    </a:cubicBezTo>
                    <a:cubicBezTo>
                      <a:pt x="26" y="65"/>
                      <a:pt x="9" y="41"/>
                      <a:pt x="0" y="4"/>
                    </a:cubicBezTo>
                    <a:cubicBezTo>
                      <a:pt x="71" y="0"/>
                      <a:pt x="144" y="0"/>
                      <a:pt x="216" y="2"/>
                    </a:cubicBezTo>
                    <a:cubicBezTo>
                      <a:pt x="422" y="7"/>
                      <a:pt x="627" y="23"/>
                      <a:pt x="832" y="45"/>
                    </a:cubicBezTo>
                    <a:cubicBezTo>
                      <a:pt x="1004" y="64"/>
                      <a:pt x="1177" y="88"/>
                      <a:pt x="1346" y="131"/>
                    </a:cubicBezTo>
                    <a:cubicBezTo>
                      <a:pt x="1477" y="165"/>
                      <a:pt x="1640" y="211"/>
                      <a:pt x="1729" y="322"/>
                    </a:cubicBezTo>
                    <a:cubicBezTo>
                      <a:pt x="1775" y="380"/>
                      <a:pt x="1783" y="451"/>
                      <a:pt x="1756" y="519"/>
                    </a:cubicBezTo>
                    <a:cubicBezTo>
                      <a:pt x="1706" y="648"/>
                      <a:pt x="1543" y="708"/>
                      <a:pt x="1386" y="747"/>
                    </a:cubicBezTo>
                    <a:cubicBezTo>
                      <a:pt x="1272" y="776"/>
                      <a:pt x="1013" y="828"/>
                      <a:pt x="957" y="916"/>
                    </a:cubicBezTo>
                    <a:cubicBezTo>
                      <a:pt x="929" y="959"/>
                      <a:pt x="941" y="1013"/>
                      <a:pt x="982" y="1047"/>
                    </a:cubicBezTo>
                    <a:cubicBezTo>
                      <a:pt x="1094" y="1141"/>
                      <a:pt x="1417" y="1125"/>
                      <a:pt x="1575" y="1127"/>
                    </a:cubicBezTo>
                    <a:cubicBezTo>
                      <a:pt x="1738" y="1128"/>
                      <a:pt x="1905" y="1115"/>
                      <a:pt x="2067" y="1124"/>
                    </a:cubicBezTo>
                    <a:cubicBezTo>
                      <a:pt x="2859" y="1166"/>
                      <a:pt x="3504" y="1593"/>
                      <a:pt x="3648" y="2173"/>
                    </a:cubicBezTo>
                    <a:cubicBezTo>
                      <a:pt x="3654" y="2198"/>
                      <a:pt x="3660" y="2228"/>
                      <a:pt x="3666" y="2260"/>
                    </a:cubicBez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74"/>
              <p:cNvSpPr>
                <a:spLocks/>
              </p:cNvSpPr>
              <p:nvPr/>
            </p:nvSpPr>
            <p:spPr bwMode="auto">
              <a:xfrm>
                <a:off x="-322072" y="1008495"/>
                <a:ext cx="7496581" cy="6566588"/>
              </a:xfrm>
              <a:custGeom>
                <a:avLst/>
                <a:gdLst>
                  <a:gd name="T0" fmla="*/ 3666 w 3704"/>
                  <a:gd name="T1" fmla="*/ 2260 h 3243"/>
                  <a:gd name="T2" fmla="*/ 3636 w 3704"/>
                  <a:gd name="T3" fmla="*/ 2489 h 3243"/>
                  <a:gd name="T4" fmla="*/ 3629 w 3704"/>
                  <a:gd name="T5" fmla="*/ 2552 h 3243"/>
                  <a:gd name="T6" fmla="*/ 3626 w 3704"/>
                  <a:gd name="T7" fmla="*/ 2635 h 3243"/>
                  <a:gd name="T8" fmla="*/ 3656 w 3704"/>
                  <a:gd name="T9" fmla="*/ 3017 h 3243"/>
                  <a:gd name="T10" fmla="*/ 3615 w 3704"/>
                  <a:gd name="T11" fmla="*/ 3010 h 3243"/>
                  <a:gd name="T12" fmla="*/ 3551 w 3704"/>
                  <a:gd name="T13" fmla="*/ 2984 h 3243"/>
                  <a:gd name="T14" fmla="*/ 3440 w 3704"/>
                  <a:gd name="T15" fmla="*/ 2989 h 3243"/>
                  <a:gd name="T16" fmla="*/ 3145 w 3704"/>
                  <a:gd name="T17" fmla="*/ 3106 h 3243"/>
                  <a:gd name="T18" fmla="*/ 3073 w 3704"/>
                  <a:gd name="T19" fmla="*/ 3085 h 3243"/>
                  <a:gd name="T20" fmla="*/ 2826 w 3704"/>
                  <a:gd name="T21" fmla="*/ 3050 h 3243"/>
                  <a:gd name="T22" fmla="*/ 2771 w 3704"/>
                  <a:gd name="T23" fmla="*/ 3073 h 3243"/>
                  <a:gd name="T24" fmla="*/ 2386 w 3704"/>
                  <a:gd name="T25" fmla="*/ 3139 h 3243"/>
                  <a:gd name="T26" fmla="*/ 2262 w 3704"/>
                  <a:gd name="T27" fmla="*/ 2953 h 3243"/>
                  <a:gd name="T28" fmla="*/ 1897 w 3704"/>
                  <a:gd name="T29" fmla="*/ 2971 h 3243"/>
                  <a:gd name="T30" fmla="*/ 1813 w 3704"/>
                  <a:gd name="T31" fmla="*/ 2969 h 3243"/>
                  <a:gd name="T32" fmla="*/ 1745 w 3704"/>
                  <a:gd name="T33" fmla="*/ 2908 h 3243"/>
                  <a:gd name="T34" fmla="*/ 2373 w 3704"/>
                  <a:gd name="T35" fmla="*/ 1862 h 3243"/>
                  <a:gd name="T36" fmla="*/ 1848 w 3704"/>
                  <a:gd name="T37" fmla="*/ 1544 h 3243"/>
                  <a:gd name="T38" fmla="*/ 1084 w 3704"/>
                  <a:gd name="T39" fmla="*/ 1488 h 3243"/>
                  <a:gd name="T40" fmla="*/ 287 w 3704"/>
                  <a:gd name="T41" fmla="*/ 1124 h 3243"/>
                  <a:gd name="T42" fmla="*/ 282 w 3704"/>
                  <a:gd name="T43" fmla="*/ 993 h 3243"/>
                  <a:gd name="T44" fmla="*/ 307 w 3704"/>
                  <a:gd name="T45" fmla="*/ 922 h 3243"/>
                  <a:gd name="T46" fmla="*/ 352 w 3704"/>
                  <a:gd name="T47" fmla="*/ 861 h 3243"/>
                  <a:gd name="T48" fmla="*/ 1045 w 3704"/>
                  <a:gd name="T49" fmla="*/ 554 h 3243"/>
                  <a:gd name="T50" fmla="*/ 1133 w 3704"/>
                  <a:gd name="T51" fmla="*/ 522 h 3243"/>
                  <a:gd name="T52" fmla="*/ 1252 w 3704"/>
                  <a:gd name="T53" fmla="*/ 397 h 3243"/>
                  <a:gd name="T54" fmla="*/ 915 w 3704"/>
                  <a:gd name="T55" fmla="*/ 259 h 3243"/>
                  <a:gd name="T56" fmla="*/ 851 w 3704"/>
                  <a:gd name="T57" fmla="*/ 254 h 3243"/>
                  <a:gd name="T58" fmla="*/ 525 w 3704"/>
                  <a:gd name="T59" fmla="*/ 232 h 3243"/>
                  <a:gd name="T60" fmla="*/ 455 w 3704"/>
                  <a:gd name="T61" fmla="*/ 228 h 3243"/>
                  <a:gd name="T62" fmla="*/ 173 w 3704"/>
                  <a:gd name="T63" fmla="*/ 205 h 3243"/>
                  <a:gd name="T64" fmla="*/ 94 w 3704"/>
                  <a:gd name="T65" fmla="*/ 203 h 3243"/>
                  <a:gd name="T66" fmla="*/ 49 w 3704"/>
                  <a:gd name="T67" fmla="*/ 93 h 3243"/>
                  <a:gd name="T68" fmla="*/ 0 w 3704"/>
                  <a:gd name="T69" fmla="*/ 5 h 3243"/>
                  <a:gd name="T70" fmla="*/ 216 w 3704"/>
                  <a:gd name="T71" fmla="*/ 2 h 3243"/>
                  <a:gd name="T72" fmla="*/ 832 w 3704"/>
                  <a:gd name="T73" fmla="*/ 46 h 3243"/>
                  <a:gd name="T74" fmla="*/ 1346 w 3704"/>
                  <a:gd name="T75" fmla="*/ 132 h 3243"/>
                  <a:gd name="T76" fmla="*/ 1729 w 3704"/>
                  <a:gd name="T77" fmla="*/ 323 h 3243"/>
                  <a:gd name="T78" fmla="*/ 1756 w 3704"/>
                  <a:gd name="T79" fmla="*/ 519 h 3243"/>
                  <a:gd name="T80" fmla="*/ 1386 w 3704"/>
                  <a:gd name="T81" fmla="*/ 748 h 3243"/>
                  <a:gd name="T82" fmla="*/ 1068 w 3704"/>
                  <a:gd name="T83" fmla="*/ 840 h 3243"/>
                  <a:gd name="T84" fmla="*/ 1000 w 3704"/>
                  <a:gd name="T85" fmla="*/ 875 h 3243"/>
                  <a:gd name="T86" fmla="*/ 957 w 3704"/>
                  <a:gd name="T87" fmla="*/ 916 h 3243"/>
                  <a:gd name="T88" fmla="*/ 944 w 3704"/>
                  <a:gd name="T89" fmla="*/ 986 h 3243"/>
                  <a:gd name="T90" fmla="*/ 982 w 3704"/>
                  <a:gd name="T91" fmla="*/ 1048 h 3243"/>
                  <a:gd name="T92" fmla="*/ 1575 w 3704"/>
                  <a:gd name="T93" fmla="*/ 1127 h 3243"/>
                  <a:gd name="T94" fmla="*/ 2067 w 3704"/>
                  <a:gd name="T95" fmla="*/ 1124 h 3243"/>
                  <a:gd name="T96" fmla="*/ 3648 w 3704"/>
                  <a:gd name="T97" fmla="*/ 2173 h 3243"/>
                  <a:gd name="T98" fmla="*/ 3666 w 3704"/>
                  <a:gd name="T99"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04" h="3243">
                    <a:moveTo>
                      <a:pt x="3666" y="2260"/>
                    </a:moveTo>
                    <a:cubicBezTo>
                      <a:pt x="3666" y="2260"/>
                      <a:pt x="3652" y="2368"/>
                      <a:pt x="3636" y="2489"/>
                    </a:cubicBezTo>
                    <a:cubicBezTo>
                      <a:pt x="3633" y="2511"/>
                      <a:pt x="3631" y="2531"/>
                      <a:pt x="3629" y="2552"/>
                    </a:cubicBezTo>
                    <a:cubicBezTo>
                      <a:pt x="3622" y="2579"/>
                      <a:pt x="3628" y="2609"/>
                      <a:pt x="3626" y="2635"/>
                    </a:cubicBezTo>
                    <a:cubicBezTo>
                      <a:pt x="3635" y="2766"/>
                      <a:pt x="3704" y="2899"/>
                      <a:pt x="3656" y="3017"/>
                    </a:cubicBezTo>
                    <a:cubicBezTo>
                      <a:pt x="3654" y="3022"/>
                      <a:pt x="3636" y="3018"/>
                      <a:pt x="3615" y="3010"/>
                    </a:cubicBezTo>
                    <a:cubicBezTo>
                      <a:pt x="3594" y="3002"/>
                      <a:pt x="3569" y="2991"/>
                      <a:pt x="3551" y="2984"/>
                    </a:cubicBezTo>
                    <a:cubicBezTo>
                      <a:pt x="3515" y="2970"/>
                      <a:pt x="3474" y="2977"/>
                      <a:pt x="3440" y="2989"/>
                    </a:cubicBezTo>
                    <a:cubicBezTo>
                      <a:pt x="3351" y="3023"/>
                      <a:pt x="3242" y="3109"/>
                      <a:pt x="3145" y="3106"/>
                    </a:cubicBezTo>
                    <a:cubicBezTo>
                      <a:pt x="3121" y="3105"/>
                      <a:pt x="3097" y="3099"/>
                      <a:pt x="3073" y="3085"/>
                    </a:cubicBezTo>
                    <a:cubicBezTo>
                      <a:pt x="2999" y="3033"/>
                      <a:pt x="2910" y="3021"/>
                      <a:pt x="2826" y="3050"/>
                    </a:cubicBezTo>
                    <a:cubicBezTo>
                      <a:pt x="2808" y="3056"/>
                      <a:pt x="2790" y="3064"/>
                      <a:pt x="2771" y="3073"/>
                    </a:cubicBezTo>
                    <a:cubicBezTo>
                      <a:pt x="2661" y="3128"/>
                      <a:pt x="2507" y="3243"/>
                      <a:pt x="2386" y="3139"/>
                    </a:cubicBezTo>
                    <a:cubicBezTo>
                      <a:pt x="2324" y="3089"/>
                      <a:pt x="2321" y="3003"/>
                      <a:pt x="2262" y="2953"/>
                    </a:cubicBezTo>
                    <a:cubicBezTo>
                      <a:pt x="2153" y="2864"/>
                      <a:pt x="2013" y="2937"/>
                      <a:pt x="1897" y="2971"/>
                    </a:cubicBezTo>
                    <a:cubicBezTo>
                      <a:pt x="1868" y="2974"/>
                      <a:pt x="1839" y="2973"/>
                      <a:pt x="1813" y="2969"/>
                    </a:cubicBezTo>
                    <a:cubicBezTo>
                      <a:pt x="1762" y="2961"/>
                      <a:pt x="1726" y="2939"/>
                      <a:pt x="1745" y="2908"/>
                    </a:cubicBezTo>
                    <a:cubicBezTo>
                      <a:pt x="1825" y="2769"/>
                      <a:pt x="2556" y="2260"/>
                      <a:pt x="2373" y="1862"/>
                    </a:cubicBezTo>
                    <a:cubicBezTo>
                      <a:pt x="2279" y="1657"/>
                      <a:pt x="2119" y="1575"/>
                      <a:pt x="1848" y="1544"/>
                    </a:cubicBezTo>
                    <a:cubicBezTo>
                      <a:pt x="1596" y="1514"/>
                      <a:pt x="1336" y="1519"/>
                      <a:pt x="1084" y="1488"/>
                    </a:cubicBezTo>
                    <a:cubicBezTo>
                      <a:pt x="795" y="1452"/>
                      <a:pt x="366" y="1377"/>
                      <a:pt x="287" y="1124"/>
                    </a:cubicBezTo>
                    <a:cubicBezTo>
                      <a:pt x="273" y="1078"/>
                      <a:pt x="272" y="1034"/>
                      <a:pt x="282" y="993"/>
                    </a:cubicBezTo>
                    <a:cubicBezTo>
                      <a:pt x="288" y="968"/>
                      <a:pt x="296" y="945"/>
                      <a:pt x="307" y="922"/>
                    </a:cubicBezTo>
                    <a:cubicBezTo>
                      <a:pt x="321" y="900"/>
                      <a:pt x="336" y="880"/>
                      <a:pt x="352" y="861"/>
                    </a:cubicBezTo>
                    <a:cubicBezTo>
                      <a:pt x="528" y="657"/>
                      <a:pt x="804" y="629"/>
                      <a:pt x="1045" y="554"/>
                    </a:cubicBezTo>
                    <a:cubicBezTo>
                      <a:pt x="1076" y="544"/>
                      <a:pt x="1106" y="534"/>
                      <a:pt x="1133" y="522"/>
                    </a:cubicBezTo>
                    <a:cubicBezTo>
                      <a:pt x="1215" y="487"/>
                      <a:pt x="1270" y="445"/>
                      <a:pt x="1252" y="397"/>
                    </a:cubicBezTo>
                    <a:cubicBezTo>
                      <a:pt x="1213" y="291"/>
                      <a:pt x="1035" y="269"/>
                      <a:pt x="915" y="259"/>
                    </a:cubicBezTo>
                    <a:cubicBezTo>
                      <a:pt x="891" y="257"/>
                      <a:pt x="869" y="255"/>
                      <a:pt x="851" y="254"/>
                    </a:cubicBezTo>
                    <a:cubicBezTo>
                      <a:pt x="744" y="249"/>
                      <a:pt x="632" y="237"/>
                      <a:pt x="525" y="232"/>
                    </a:cubicBezTo>
                    <a:cubicBezTo>
                      <a:pt x="502" y="231"/>
                      <a:pt x="478" y="230"/>
                      <a:pt x="455" y="228"/>
                    </a:cubicBezTo>
                    <a:cubicBezTo>
                      <a:pt x="360" y="222"/>
                      <a:pt x="266" y="215"/>
                      <a:pt x="173" y="205"/>
                    </a:cubicBezTo>
                    <a:cubicBezTo>
                      <a:pt x="148" y="202"/>
                      <a:pt x="118" y="193"/>
                      <a:pt x="94" y="203"/>
                    </a:cubicBezTo>
                    <a:cubicBezTo>
                      <a:pt x="86" y="167"/>
                      <a:pt x="73" y="122"/>
                      <a:pt x="49" y="93"/>
                    </a:cubicBezTo>
                    <a:cubicBezTo>
                      <a:pt x="26" y="65"/>
                      <a:pt x="9" y="42"/>
                      <a:pt x="0" y="5"/>
                    </a:cubicBezTo>
                    <a:cubicBezTo>
                      <a:pt x="71" y="0"/>
                      <a:pt x="144" y="0"/>
                      <a:pt x="216" y="2"/>
                    </a:cubicBezTo>
                    <a:cubicBezTo>
                      <a:pt x="422" y="7"/>
                      <a:pt x="627" y="24"/>
                      <a:pt x="832" y="46"/>
                    </a:cubicBezTo>
                    <a:cubicBezTo>
                      <a:pt x="1004" y="64"/>
                      <a:pt x="1177" y="88"/>
                      <a:pt x="1346" y="132"/>
                    </a:cubicBezTo>
                    <a:cubicBezTo>
                      <a:pt x="1477" y="166"/>
                      <a:pt x="1640" y="212"/>
                      <a:pt x="1729" y="323"/>
                    </a:cubicBezTo>
                    <a:cubicBezTo>
                      <a:pt x="1775" y="380"/>
                      <a:pt x="1783" y="451"/>
                      <a:pt x="1756" y="519"/>
                    </a:cubicBezTo>
                    <a:cubicBezTo>
                      <a:pt x="1706" y="648"/>
                      <a:pt x="1543" y="708"/>
                      <a:pt x="1386" y="748"/>
                    </a:cubicBezTo>
                    <a:cubicBezTo>
                      <a:pt x="1310" y="767"/>
                      <a:pt x="1170" y="796"/>
                      <a:pt x="1068" y="840"/>
                    </a:cubicBezTo>
                    <a:cubicBezTo>
                      <a:pt x="1042" y="851"/>
                      <a:pt x="1019" y="863"/>
                      <a:pt x="1000" y="875"/>
                    </a:cubicBezTo>
                    <a:cubicBezTo>
                      <a:pt x="981" y="888"/>
                      <a:pt x="966" y="902"/>
                      <a:pt x="957" y="916"/>
                    </a:cubicBezTo>
                    <a:cubicBezTo>
                      <a:pt x="943" y="938"/>
                      <a:pt x="939" y="962"/>
                      <a:pt x="944" y="986"/>
                    </a:cubicBezTo>
                    <a:cubicBezTo>
                      <a:pt x="948" y="1009"/>
                      <a:pt x="961" y="1031"/>
                      <a:pt x="982" y="1048"/>
                    </a:cubicBezTo>
                    <a:cubicBezTo>
                      <a:pt x="1094" y="1142"/>
                      <a:pt x="1417" y="1125"/>
                      <a:pt x="1575" y="1127"/>
                    </a:cubicBezTo>
                    <a:cubicBezTo>
                      <a:pt x="1738" y="1129"/>
                      <a:pt x="1905" y="1115"/>
                      <a:pt x="2067" y="1124"/>
                    </a:cubicBezTo>
                    <a:cubicBezTo>
                      <a:pt x="2859" y="1167"/>
                      <a:pt x="3504" y="1594"/>
                      <a:pt x="3648" y="2173"/>
                    </a:cubicBezTo>
                    <a:cubicBezTo>
                      <a:pt x="3654" y="2199"/>
                      <a:pt x="3660" y="2228"/>
                      <a:pt x="3666" y="2260"/>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179"/>
            <p:cNvSpPr>
              <a:spLocks noEditPoints="1"/>
            </p:cNvSpPr>
            <p:nvPr/>
          </p:nvSpPr>
          <p:spPr bwMode="auto">
            <a:xfrm>
              <a:off x="-1511557" y="1210597"/>
              <a:ext cx="7453763" cy="6009952"/>
            </a:xfrm>
            <a:custGeom>
              <a:avLst/>
              <a:gdLst>
                <a:gd name="T0" fmla="*/ 1157 w 3683"/>
                <a:gd name="T1" fmla="*/ 18 h 2968"/>
                <a:gd name="T2" fmla="*/ 963 w 3683"/>
                <a:gd name="T3" fmla="*/ 19 h 2968"/>
                <a:gd name="T4" fmla="*/ 1009 w 3683"/>
                <a:gd name="T5" fmla="*/ 26 h 2968"/>
                <a:gd name="T6" fmla="*/ 1011 w 3683"/>
                <a:gd name="T7" fmla="*/ 13 h 2968"/>
                <a:gd name="T8" fmla="*/ 1250 w 3683"/>
                <a:gd name="T9" fmla="*/ 836 h 2968"/>
                <a:gd name="T10" fmla="*/ 1228 w 3683"/>
                <a:gd name="T11" fmla="*/ 966 h 2968"/>
                <a:gd name="T12" fmla="*/ 1244 w 3683"/>
                <a:gd name="T13" fmla="*/ 960 h 2968"/>
                <a:gd name="T14" fmla="*/ 1401 w 3683"/>
                <a:gd name="T15" fmla="*/ 1119 h 2968"/>
                <a:gd name="T16" fmla="*/ 1528 w 3683"/>
                <a:gd name="T17" fmla="*/ 1150 h 2968"/>
                <a:gd name="T18" fmla="*/ 1519 w 3683"/>
                <a:gd name="T19" fmla="*/ 55 h 2968"/>
                <a:gd name="T20" fmla="*/ 1449 w 3683"/>
                <a:gd name="T21" fmla="*/ 669 h 2968"/>
                <a:gd name="T22" fmla="*/ 1285 w 3683"/>
                <a:gd name="T23" fmla="*/ 770 h 2968"/>
                <a:gd name="T24" fmla="*/ 1455 w 3683"/>
                <a:gd name="T25" fmla="*/ 674 h 2968"/>
                <a:gd name="T26" fmla="*/ 1709 w 3683"/>
                <a:gd name="T27" fmla="*/ 80 h 2968"/>
                <a:gd name="T28" fmla="*/ 3599 w 3683"/>
                <a:gd name="T29" fmla="*/ 1859 h 2968"/>
                <a:gd name="T30" fmla="*/ 3647 w 3683"/>
                <a:gd name="T31" fmla="*/ 1912 h 2968"/>
                <a:gd name="T32" fmla="*/ 3615 w 3683"/>
                <a:gd name="T33" fmla="*/ 1813 h 2968"/>
                <a:gd name="T34" fmla="*/ 3548 w 3683"/>
                <a:gd name="T35" fmla="*/ 1742 h 2968"/>
                <a:gd name="T36" fmla="*/ 48 w 3683"/>
                <a:gd name="T37" fmla="*/ 73 h 2968"/>
                <a:gd name="T38" fmla="*/ 1311 w 3683"/>
                <a:gd name="T39" fmla="*/ 27 h 2968"/>
                <a:gd name="T40" fmla="*/ 673 w 3683"/>
                <a:gd name="T41" fmla="*/ 6 h 2968"/>
                <a:gd name="T42" fmla="*/ 537 w 3683"/>
                <a:gd name="T43" fmla="*/ 1 h 2968"/>
                <a:gd name="T44" fmla="*/ 798 w 3683"/>
                <a:gd name="T45" fmla="*/ 20 h 2968"/>
                <a:gd name="T46" fmla="*/ 298 w 3683"/>
                <a:gd name="T47" fmla="*/ 27 h 2968"/>
                <a:gd name="T48" fmla="*/ 502 w 3683"/>
                <a:gd name="T49" fmla="*/ 17 h 2968"/>
                <a:gd name="T50" fmla="*/ 3272 w 3683"/>
                <a:gd name="T51" fmla="*/ 1450 h 2968"/>
                <a:gd name="T52" fmla="*/ 3338 w 3683"/>
                <a:gd name="T53" fmla="*/ 1521 h 2968"/>
                <a:gd name="T54" fmla="*/ 3430 w 3683"/>
                <a:gd name="T55" fmla="*/ 1554 h 2968"/>
                <a:gd name="T56" fmla="*/ 3374 w 3683"/>
                <a:gd name="T57" fmla="*/ 2968 h 2968"/>
                <a:gd name="T58" fmla="*/ 3397 w 3683"/>
                <a:gd name="T59" fmla="*/ 2879 h 2968"/>
                <a:gd name="T60" fmla="*/ 2880 w 3683"/>
                <a:gd name="T61" fmla="*/ 1304 h 2968"/>
                <a:gd name="T62" fmla="*/ 2970 w 3683"/>
                <a:gd name="T63" fmla="*/ 1358 h 2968"/>
                <a:gd name="T64" fmla="*/ 2978 w 3683"/>
                <a:gd name="T65" fmla="*/ 1333 h 2968"/>
                <a:gd name="T66" fmla="*/ 2506 w 3683"/>
                <a:gd name="T67" fmla="*/ 1258 h 2968"/>
                <a:gd name="T68" fmla="*/ 2648 w 3683"/>
                <a:gd name="T69" fmla="*/ 1254 h 2968"/>
                <a:gd name="T70" fmla="*/ 3528 w 3683"/>
                <a:gd name="T71" fmla="*/ 2668 h 2968"/>
                <a:gd name="T72" fmla="*/ 3615 w 3683"/>
                <a:gd name="T73" fmla="*/ 2554 h 2968"/>
                <a:gd name="T74" fmla="*/ 3682 w 3683"/>
                <a:gd name="T75" fmla="*/ 2148 h 2968"/>
                <a:gd name="T76" fmla="*/ 3650 w 3683"/>
                <a:gd name="T77" fmla="*/ 2149 h 2968"/>
                <a:gd name="T78" fmla="*/ 3674 w 3683"/>
                <a:gd name="T79" fmla="*/ 2322 h 2968"/>
                <a:gd name="T80" fmla="*/ 2076 w 3683"/>
                <a:gd name="T81" fmla="*/ 230 h 2968"/>
                <a:gd name="T82" fmla="*/ 1946 w 3683"/>
                <a:gd name="T83" fmla="*/ 144 h 2968"/>
                <a:gd name="T84" fmla="*/ 1816 w 3683"/>
                <a:gd name="T85" fmla="*/ 532 h 2968"/>
                <a:gd name="T86" fmla="*/ 1969 w 3683"/>
                <a:gd name="T87" fmla="*/ 480 h 2968"/>
                <a:gd name="T88" fmla="*/ 1695 w 3683"/>
                <a:gd name="T89" fmla="*/ 1175 h 2968"/>
                <a:gd name="T90" fmla="*/ 1834 w 3683"/>
                <a:gd name="T91" fmla="*/ 1203 h 2968"/>
                <a:gd name="T92" fmla="*/ 1835 w 3683"/>
                <a:gd name="T93" fmla="*/ 1182 h 2968"/>
                <a:gd name="T94" fmla="*/ 2069 w 3683"/>
                <a:gd name="T95" fmla="*/ 1220 h 2968"/>
                <a:gd name="T96" fmla="*/ 2098 w 3683"/>
                <a:gd name="T97" fmla="*/ 316 h 2968"/>
                <a:gd name="T98" fmla="*/ 2030 w 3683"/>
                <a:gd name="T99" fmla="*/ 439 h 2968"/>
                <a:gd name="T100" fmla="*/ 1725 w 3683"/>
                <a:gd name="T101" fmla="*/ 564 h 2968"/>
                <a:gd name="T102" fmla="*/ 1733 w 3683"/>
                <a:gd name="T103" fmla="*/ 579 h 2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83" h="2968">
                  <a:moveTo>
                    <a:pt x="1265" y="38"/>
                  </a:moveTo>
                  <a:cubicBezTo>
                    <a:pt x="1228" y="36"/>
                    <a:pt x="1192" y="33"/>
                    <a:pt x="1157" y="30"/>
                  </a:cubicBezTo>
                  <a:cubicBezTo>
                    <a:pt x="1156" y="30"/>
                    <a:pt x="1155" y="30"/>
                    <a:pt x="1154" y="30"/>
                  </a:cubicBezTo>
                  <a:cubicBezTo>
                    <a:pt x="1154" y="26"/>
                    <a:pt x="1155" y="22"/>
                    <a:pt x="1155" y="18"/>
                  </a:cubicBezTo>
                  <a:cubicBezTo>
                    <a:pt x="1156" y="18"/>
                    <a:pt x="1157" y="18"/>
                    <a:pt x="1157" y="18"/>
                  </a:cubicBezTo>
                  <a:cubicBezTo>
                    <a:pt x="1192" y="20"/>
                    <a:pt x="1228" y="23"/>
                    <a:pt x="1265" y="25"/>
                  </a:cubicBezTo>
                  <a:cubicBezTo>
                    <a:pt x="1265" y="29"/>
                    <a:pt x="1265" y="33"/>
                    <a:pt x="1265" y="38"/>
                  </a:cubicBezTo>
                  <a:close/>
                  <a:moveTo>
                    <a:pt x="870" y="22"/>
                  </a:moveTo>
                  <a:cubicBezTo>
                    <a:pt x="891" y="22"/>
                    <a:pt x="913" y="23"/>
                    <a:pt x="935" y="24"/>
                  </a:cubicBezTo>
                  <a:cubicBezTo>
                    <a:pt x="942" y="16"/>
                    <a:pt x="954" y="14"/>
                    <a:pt x="963" y="19"/>
                  </a:cubicBezTo>
                  <a:cubicBezTo>
                    <a:pt x="963" y="17"/>
                    <a:pt x="964" y="15"/>
                    <a:pt x="964" y="12"/>
                  </a:cubicBezTo>
                  <a:cubicBezTo>
                    <a:pt x="931" y="12"/>
                    <a:pt x="899" y="11"/>
                    <a:pt x="869" y="10"/>
                  </a:cubicBezTo>
                  <a:cubicBezTo>
                    <a:pt x="869" y="14"/>
                    <a:pt x="869" y="18"/>
                    <a:pt x="870" y="22"/>
                  </a:cubicBezTo>
                  <a:close/>
                  <a:moveTo>
                    <a:pt x="1011" y="13"/>
                  </a:moveTo>
                  <a:cubicBezTo>
                    <a:pt x="1010" y="17"/>
                    <a:pt x="1009" y="21"/>
                    <a:pt x="1009" y="26"/>
                  </a:cubicBezTo>
                  <a:cubicBezTo>
                    <a:pt x="1019" y="26"/>
                    <a:pt x="1029" y="26"/>
                    <a:pt x="1039" y="26"/>
                  </a:cubicBezTo>
                  <a:cubicBezTo>
                    <a:pt x="1061" y="27"/>
                    <a:pt x="1085" y="28"/>
                    <a:pt x="1108" y="28"/>
                  </a:cubicBezTo>
                  <a:cubicBezTo>
                    <a:pt x="1109" y="24"/>
                    <a:pt x="1109" y="20"/>
                    <a:pt x="1110" y="16"/>
                  </a:cubicBezTo>
                  <a:cubicBezTo>
                    <a:pt x="1086" y="15"/>
                    <a:pt x="1062" y="15"/>
                    <a:pt x="1039" y="14"/>
                  </a:cubicBezTo>
                  <a:cubicBezTo>
                    <a:pt x="1030" y="14"/>
                    <a:pt x="1020" y="14"/>
                    <a:pt x="1011" y="13"/>
                  </a:cubicBezTo>
                  <a:close/>
                  <a:moveTo>
                    <a:pt x="1244" y="960"/>
                  </a:moveTo>
                  <a:cubicBezTo>
                    <a:pt x="1243" y="956"/>
                    <a:pt x="1242" y="953"/>
                    <a:pt x="1241" y="949"/>
                  </a:cubicBezTo>
                  <a:cubicBezTo>
                    <a:pt x="1240" y="945"/>
                    <a:pt x="1239" y="941"/>
                    <a:pt x="1238" y="937"/>
                  </a:cubicBezTo>
                  <a:cubicBezTo>
                    <a:pt x="1235" y="920"/>
                    <a:pt x="1234" y="903"/>
                    <a:pt x="1236" y="886"/>
                  </a:cubicBezTo>
                  <a:cubicBezTo>
                    <a:pt x="1237" y="869"/>
                    <a:pt x="1242" y="852"/>
                    <a:pt x="1250" y="836"/>
                  </a:cubicBezTo>
                  <a:cubicBezTo>
                    <a:pt x="1232" y="836"/>
                    <a:pt x="1232" y="836"/>
                    <a:pt x="1232" y="836"/>
                  </a:cubicBezTo>
                  <a:cubicBezTo>
                    <a:pt x="1225" y="852"/>
                    <a:pt x="1221" y="868"/>
                    <a:pt x="1219" y="885"/>
                  </a:cubicBezTo>
                  <a:cubicBezTo>
                    <a:pt x="1217" y="904"/>
                    <a:pt x="1218" y="922"/>
                    <a:pt x="1221" y="940"/>
                  </a:cubicBezTo>
                  <a:cubicBezTo>
                    <a:pt x="1222" y="944"/>
                    <a:pt x="1223" y="949"/>
                    <a:pt x="1224" y="953"/>
                  </a:cubicBezTo>
                  <a:cubicBezTo>
                    <a:pt x="1226" y="957"/>
                    <a:pt x="1227" y="962"/>
                    <a:pt x="1228" y="966"/>
                  </a:cubicBezTo>
                  <a:cubicBezTo>
                    <a:pt x="1231" y="974"/>
                    <a:pt x="1234" y="982"/>
                    <a:pt x="1238" y="990"/>
                  </a:cubicBezTo>
                  <a:cubicBezTo>
                    <a:pt x="1244" y="1002"/>
                    <a:pt x="1251" y="1013"/>
                    <a:pt x="1259" y="1023"/>
                  </a:cubicBezTo>
                  <a:cubicBezTo>
                    <a:pt x="1264" y="1020"/>
                    <a:pt x="1269" y="1017"/>
                    <a:pt x="1274" y="1014"/>
                  </a:cubicBezTo>
                  <a:cubicBezTo>
                    <a:pt x="1266" y="1005"/>
                    <a:pt x="1259" y="994"/>
                    <a:pt x="1253" y="982"/>
                  </a:cubicBezTo>
                  <a:cubicBezTo>
                    <a:pt x="1249" y="975"/>
                    <a:pt x="1247" y="968"/>
                    <a:pt x="1244" y="960"/>
                  </a:cubicBezTo>
                  <a:close/>
                  <a:moveTo>
                    <a:pt x="1503" y="1141"/>
                  </a:moveTo>
                  <a:cubicBezTo>
                    <a:pt x="1481" y="1132"/>
                    <a:pt x="1448" y="1121"/>
                    <a:pt x="1408" y="1104"/>
                  </a:cubicBezTo>
                  <a:cubicBezTo>
                    <a:pt x="1390" y="1096"/>
                    <a:pt x="1370" y="1087"/>
                    <a:pt x="1349" y="1075"/>
                  </a:cubicBezTo>
                  <a:cubicBezTo>
                    <a:pt x="1346" y="1079"/>
                    <a:pt x="1343" y="1084"/>
                    <a:pt x="1340" y="1088"/>
                  </a:cubicBezTo>
                  <a:cubicBezTo>
                    <a:pt x="1361" y="1101"/>
                    <a:pt x="1382" y="1110"/>
                    <a:pt x="1401" y="1119"/>
                  </a:cubicBezTo>
                  <a:cubicBezTo>
                    <a:pt x="1442" y="1136"/>
                    <a:pt x="1475" y="1147"/>
                    <a:pt x="1497" y="1156"/>
                  </a:cubicBezTo>
                  <a:cubicBezTo>
                    <a:pt x="1509" y="1160"/>
                    <a:pt x="1517" y="1163"/>
                    <a:pt x="1523" y="1165"/>
                  </a:cubicBezTo>
                  <a:cubicBezTo>
                    <a:pt x="1528" y="1167"/>
                    <a:pt x="1531" y="1168"/>
                    <a:pt x="1531" y="1168"/>
                  </a:cubicBezTo>
                  <a:cubicBezTo>
                    <a:pt x="1537" y="1154"/>
                    <a:pt x="1537" y="1154"/>
                    <a:pt x="1537" y="1154"/>
                  </a:cubicBezTo>
                  <a:cubicBezTo>
                    <a:pt x="1537" y="1154"/>
                    <a:pt x="1534" y="1152"/>
                    <a:pt x="1528" y="1150"/>
                  </a:cubicBezTo>
                  <a:cubicBezTo>
                    <a:pt x="1523" y="1148"/>
                    <a:pt x="1514" y="1145"/>
                    <a:pt x="1503" y="1141"/>
                  </a:cubicBezTo>
                  <a:close/>
                  <a:moveTo>
                    <a:pt x="1666" y="58"/>
                  </a:moveTo>
                  <a:cubicBezTo>
                    <a:pt x="1629" y="53"/>
                    <a:pt x="1592" y="48"/>
                    <a:pt x="1556" y="44"/>
                  </a:cubicBezTo>
                  <a:cubicBezTo>
                    <a:pt x="1544" y="43"/>
                    <a:pt x="1531" y="42"/>
                    <a:pt x="1519" y="41"/>
                  </a:cubicBezTo>
                  <a:cubicBezTo>
                    <a:pt x="1519" y="46"/>
                    <a:pt x="1519" y="50"/>
                    <a:pt x="1519" y="55"/>
                  </a:cubicBezTo>
                  <a:cubicBezTo>
                    <a:pt x="1531" y="56"/>
                    <a:pt x="1543" y="57"/>
                    <a:pt x="1554" y="58"/>
                  </a:cubicBezTo>
                  <a:cubicBezTo>
                    <a:pt x="1591" y="62"/>
                    <a:pt x="1627" y="67"/>
                    <a:pt x="1664" y="72"/>
                  </a:cubicBezTo>
                  <a:cubicBezTo>
                    <a:pt x="1665" y="68"/>
                    <a:pt x="1666" y="63"/>
                    <a:pt x="1666" y="58"/>
                  </a:cubicBezTo>
                  <a:close/>
                  <a:moveTo>
                    <a:pt x="1455" y="674"/>
                  </a:moveTo>
                  <a:cubicBezTo>
                    <a:pt x="1452" y="671"/>
                    <a:pt x="1454" y="672"/>
                    <a:pt x="1449" y="669"/>
                  </a:cubicBezTo>
                  <a:cubicBezTo>
                    <a:pt x="1445" y="667"/>
                    <a:pt x="1441" y="665"/>
                    <a:pt x="1437" y="663"/>
                  </a:cubicBezTo>
                  <a:cubicBezTo>
                    <a:pt x="1432" y="666"/>
                    <a:pt x="1427" y="668"/>
                    <a:pt x="1422" y="670"/>
                  </a:cubicBezTo>
                  <a:cubicBezTo>
                    <a:pt x="1383" y="689"/>
                    <a:pt x="1345" y="710"/>
                    <a:pt x="1313" y="736"/>
                  </a:cubicBezTo>
                  <a:cubicBezTo>
                    <a:pt x="1300" y="747"/>
                    <a:pt x="1288" y="757"/>
                    <a:pt x="1276" y="769"/>
                  </a:cubicBezTo>
                  <a:cubicBezTo>
                    <a:pt x="1279" y="769"/>
                    <a:pt x="1282" y="770"/>
                    <a:pt x="1285" y="770"/>
                  </a:cubicBezTo>
                  <a:cubicBezTo>
                    <a:pt x="1289" y="769"/>
                    <a:pt x="1293" y="768"/>
                    <a:pt x="1298" y="767"/>
                  </a:cubicBezTo>
                  <a:cubicBezTo>
                    <a:pt x="1300" y="766"/>
                    <a:pt x="1302" y="766"/>
                    <a:pt x="1304" y="766"/>
                  </a:cubicBezTo>
                  <a:cubicBezTo>
                    <a:pt x="1310" y="760"/>
                    <a:pt x="1317" y="755"/>
                    <a:pt x="1323" y="750"/>
                  </a:cubicBezTo>
                  <a:cubicBezTo>
                    <a:pt x="1355" y="725"/>
                    <a:pt x="1391" y="704"/>
                    <a:pt x="1430" y="686"/>
                  </a:cubicBezTo>
                  <a:cubicBezTo>
                    <a:pt x="1438" y="682"/>
                    <a:pt x="1447" y="678"/>
                    <a:pt x="1455" y="674"/>
                  </a:cubicBezTo>
                  <a:close/>
                  <a:moveTo>
                    <a:pt x="1879" y="120"/>
                  </a:moveTo>
                  <a:cubicBezTo>
                    <a:pt x="1880" y="115"/>
                    <a:pt x="1881" y="110"/>
                    <a:pt x="1883" y="105"/>
                  </a:cubicBezTo>
                  <a:cubicBezTo>
                    <a:pt x="1870" y="101"/>
                    <a:pt x="1857" y="97"/>
                    <a:pt x="1844" y="94"/>
                  </a:cubicBezTo>
                  <a:cubicBezTo>
                    <a:pt x="1800" y="82"/>
                    <a:pt x="1756" y="73"/>
                    <a:pt x="1712" y="65"/>
                  </a:cubicBezTo>
                  <a:cubicBezTo>
                    <a:pt x="1711" y="70"/>
                    <a:pt x="1710" y="75"/>
                    <a:pt x="1709" y="80"/>
                  </a:cubicBezTo>
                  <a:cubicBezTo>
                    <a:pt x="1753" y="88"/>
                    <a:pt x="1797" y="97"/>
                    <a:pt x="1840" y="109"/>
                  </a:cubicBezTo>
                  <a:cubicBezTo>
                    <a:pt x="1853" y="112"/>
                    <a:pt x="1866" y="116"/>
                    <a:pt x="1879" y="120"/>
                  </a:cubicBezTo>
                  <a:close/>
                  <a:moveTo>
                    <a:pt x="3559" y="1762"/>
                  </a:moveTo>
                  <a:cubicBezTo>
                    <a:pt x="3567" y="1778"/>
                    <a:pt x="3578" y="1801"/>
                    <a:pt x="3587" y="1824"/>
                  </a:cubicBezTo>
                  <a:cubicBezTo>
                    <a:pt x="3591" y="1836"/>
                    <a:pt x="3595" y="1848"/>
                    <a:pt x="3599" y="1859"/>
                  </a:cubicBezTo>
                  <a:cubicBezTo>
                    <a:pt x="3600" y="1861"/>
                    <a:pt x="3601" y="1864"/>
                    <a:pt x="3602" y="1867"/>
                  </a:cubicBezTo>
                  <a:cubicBezTo>
                    <a:pt x="3602" y="1869"/>
                    <a:pt x="3603" y="1872"/>
                    <a:pt x="3604" y="1875"/>
                  </a:cubicBezTo>
                  <a:cubicBezTo>
                    <a:pt x="3605" y="1880"/>
                    <a:pt x="3607" y="1885"/>
                    <a:pt x="3608" y="1889"/>
                  </a:cubicBezTo>
                  <a:cubicBezTo>
                    <a:pt x="3613" y="1908"/>
                    <a:pt x="3617" y="1920"/>
                    <a:pt x="3617" y="1920"/>
                  </a:cubicBezTo>
                  <a:cubicBezTo>
                    <a:pt x="3647" y="1912"/>
                    <a:pt x="3647" y="1912"/>
                    <a:pt x="3647" y="1912"/>
                  </a:cubicBezTo>
                  <a:cubicBezTo>
                    <a:pt x="3647" y="1912"/>
                    <a:pt x="3643" y="1899"/>
                    <a:pt x="3638" y="1881"/>
                  </a:cubicBezTo>
                  <a:cubicBezTo>
                    <a:pt x="3636" y="1876"/>
                    <a:pt x="3635" y="1871"/>
                    <a:pt x="3633" y="1866"/>
                  </a:cubicBezTo>
                  <a:cubicBezTo>
                    <a:pt x="3633" y="1864"/>
                    <a:pt x="3632" y="1861"/>
                    <a:pt x="3631" y="1858"/>
                  </a:cubicBezTo>
                  <a:cubicBezTo>
                    <a:pt x="3630" y="1855"/>
                    <a:pt x="3629" y="1852"/>
                    <a:pt x="3628" y="1849"/>
                  </a:cubicBezTo>
                  <a:cubicBezTo>
                    <a:pt x="3624" y="1838"/>
                    <a:pt x="3620" y="1825"/>
                    <a:pt x="3615" y="1813"/>
                  </a:cubicBezTo>
                  <a:cubicBezTo>
                    <a:pt x="3606" y="1789"/>
                    <a:pt x="3595" y="1765"/>
                    <a:pt x="3586" y="1748"/>
                  </a:cubicBezTo>
                  <a:cubicBezTo>
                    <a:pt x="3581" y="1739"/>
                    <a:pt x="3577" y="1732"/>
                    <a:pt x="3574" y="1727"/>
                  </a:cubicBezTo>
                  <a:cubicBezTo>
                    <a:pt x="3571" y="1722"/>
                    <a:pt x="3570" y="1719"/>
                    <a:pt x="3570" y="1719"/>
                  </a:cubicBezTo>
                  <a:cubicBezTo>
                    <a:pt x="3544" y="1734"/>
                    <a:pt x="3544" y="1734"/>
                    <a:pt x="3544" y="1734"/>
                  </a:cubicBezTo>
                  <a:cubicBezTo>
                    <a:pt x="3544" y="1734"/>
                    <a:pt x="3545" y="1737"/>
                    <a:pt x="3548" y="1742"/>
                  </a:cubicBezTo>
                  <a:cubicBezTo>
                    <a:pt x="3551" y="1747"/>
                    <a:pt x="3555" y="1753"/>
                    <a:pt x="3559" y="1762"/>
                  </a:cubicBezTo>
                  <a:close/>
                  <a:moveTo>
                    <a:pt x="48" y="70"/>
                  </a:moveTo>
                  <a:cubicBezTo>
                    <a:pt x="24" y="76"/>
                    <a:pt x="0" y="84"/>
                    <a:pt x="0" y="84"/>
                  </a:cubicBezTo>
                  <a:cubicBezTo>
                    <a:pt x="0" y="86"/>
                    <a:pt x="0" y="86"/>
                    <a:pt x="0" y="86"/>
                  </a:cubicBezTo>
                  <a:cubicBezTo>
                    <a:pt x="0" y="86"/>
                    <a:pt x="24" y="79"/>
                    <a:pt x="48" y="73"/>
                  </a:cubicBezTo>
                  <a:cubicBezTo>
                    <a:pt x="73" y="66"/>
                    <a:pt x="97" y="61"/>
                    <a:pt x="97" y="61"/>
                  </a:cubicBezTo>
                  <a:cubicBezTo>
                    <a:pt x="96" y="58"/>
                    <a:pt x="96" y="58"/>
                    <a:pt x="96" y="58"/>
                  </a:cubicBezTo>
                  <a:cubicBezTo>
                    <a:pt x="96" y="58"/>
                    <a:pt x="72" y="63"/>
                    <a:pt x="48" y="70"/>
                  </a:cubicBezTo>
                  <a:close/>
                  <a:moveTo>
                    <a:pt x="1473" y="37"/>
                  </a:moveTo>
                  <a:cubicBezTo>
                    <a:pt x="1417" y="33"/>
                    <a:pt x="1363" y="30"/>
                    <a:pt x="1311" y="27"/>
                  </a:cubicBezTo>
                  <a:cubicBezTo>
                    <a:pt x="1311" y="32"/>
                    <a:pt x="1311" y="36"/>
                    <a:pt x="1311" y="40"/>
                  </a:cubicBezTo>
                  <a:cubicBezTo>
                    <a:pt x="1363" y="44"/>
                    <a:pt x="1417" y="47"/>
                    <a:pt x="1473" y="51"/>
                  </a:cubicBezTo>
                  <a:cubicBezTo>
                    <a:pt x="1473" y="46"/>
                    <a:pt x="1473" y="42"/>
                    <a:pt x="1473" y="37"/>
                  </a:cubicBezTo>
                  <a:close/>
                  <a:moveTo>
                    <a:pt x="747" y="8"/>
                  </a:moveTo>
                  <a:cubicBezTo>
                    <a:pt x="720" y="7"/>
                    <a:pt x="695" y="7"/>
                    <a:pt x="673" y="6"/>
                  </a:cubicBezTo>
                  <a:cubicBezTo>
                    <a:pt x="629" y="5"/>
                    <a:pt x="595" y="5"/>
                    <a:pt x="571" y="4"/>
                  </a:cubicBezTo>
                  <a:cubicBezTo>
                    <a:pt x="559" y="3"/>
                    <a:pt x="550" y="3"/>
                    <a:pt x="544" y="2"/>
                  </a:cubicBezTo>
                  <a:cubicBezTo>
                    <a:pt x="541" y="2"/>
                    <a:pt x="539" y="2"/>
                    <a:pt x="537" y="1"/>
                  </a:cubicBezTo>
                  <a:cubicBezTo>
                    <a:pt x="536" y="1"/>
                    <a:pt x="535" y="0"/>
                    <a:pt x="535" y="0"/>
                  </a:cubicBezTo>
                  <a:cubicBezTo>
                    <a:pt x="535" y="0"/>
                    <a:pt x="536" y="1"/>
                    <a:pt x="537" y="1"/>
                  </a:cubicBezTo>
                  <a:cubicBezTo>
                    <a:pt x="539" y="2"/>
                    <a:pt x="541" y="2"/>
                    <a:pt x="544" y="3"/>
                  </a:cubicBezTo>
                  <a:cubicBezTo>
                    <a:pt x="550" y="4"/>
                    <a:pt x="559" y="6"/>
                    <a:pt x="571" y="7"/>
                  </a:cubicBezTo>
                  <a:cubicBezTo>
                    <a:pt x="594" y="9"/>
                    <a:pt x="629" y="12"/>
                    <a:pt x="673" y="15"/>
                  </a:cubicBezTo>
                  <a:cubicBezTo>
                    <a:pt x="695" y="16"/>
                    <a:pt x="720" y="17"/>
                    <a:pt x="746" y="18"/>
                  </a:cubicBezTo>
                  <a:cubicBezTo>
                    <a:pt x="763" y="19"/>
                    <a:pt x="780" y="19"/>
                    <a:pt x="798" y="20"/>
                  </a:cubicBezTo>
                  <a:cubicBezTo>
                    <a:pt x="798" y="16"/>
                    <a:pt x="798" y="12"/>
                    <a:pt x="797" y="9"/>
                  </a:cubicBezTo>
                  <a:cubicBezTo>
                    <a:pt x="780" y="8"/>
                    <a:pt x="763" y="8"/>
                    <a:pt x="747" y="8"/>
                  </a:cubicBezTo>
                  <a:close/>
                  <a:moveTo>
                    <a:pt x="400" y="20"/>
                  </a:moveTo>
                  <a:cubicBezTo>
                    <a:pt x="374" y="22"/>
                    <a:pt x="349" y="23"/>
                    <a:pt x="330" y="25"/>
                  </a:cubicBezTo>
                  <a:cubicBezTo>
                    <a:pt x="311" y="26"/>
                    <a:pt x="298" y="27"/>
                    <a:pt x="298" y="27"/>
                  </a:cubicBezTo>
                  <a:cubicBezTo>
                    <a:pt x="298" y="31"/>
                    <a:pt x="298" y="31"/>
                    <a:pt x="298" y="31"/>
                  </a:cubicBezTo>
                  <a:cubicBezTo>
                    <a:pt x="298" y="31"/>
                    <a:pt x="311" y="30"/>
                    <a:pt x="330" y="29"/>
                  </a:cubicBezTo>
                  <a:cubicBezTo>
                    <a:pt x="349" y="27"/>
                    <a:pt x="374" y="26"/>
                    <a:pt x="400" y="25"/>
                  </a:cubicBezTo>
                  <a:cubicBezTo>
                    <a:pt x="451" y="22"/>
                    <a:pt x="502" y="22"/>
                    <a:pt x="502" y="22"/>
                  </a:cubicBezTo>
                  <a:cubicBezTo>
                    <a:pt x="502" y="17"/>
                    <a:pt x="502" y="17"/>
                    <a:pt x="502" y="17"/>
                  </a:cubicBezTo>
                  <a:cubicBezTo>
                    <a:pt x="502" y="17"/>
                    <a:pt x="451" y="18"/>
                    <a:pt x="400" y="20"/>
                  </a:cubicBezTo>
                  <a:close/>
                  <a:moveTo>
                    <a:pt x="3411" y="1539"/>
                  </a:moveTo>
                  <a:cubicBezTo>
                    <a:pt x="3396" y="1527"/>
                    <a:pt x="3375" y="1512"/>
                    <a:pt x="3354" y="1498"/>
                  </a:cubicBezTo>
                  <a:cubicBezTo>
                    <a:pt x="3332" y="1483"/>
                    <a:pt x="3310" y="1470"/>
                    <a:pt x="3293" y="1461"/>
                  </a:cubicBezTo>
                  <a:cubicBezTo>
                    <a:pt x="3284" y="1456"/>
                    <a:pt x="3277" y="1452"/>
                    <a:pt x="3272" y="1450"/>
                  </a:cubicBezTo>
                  <a:cubicBezTo>
                    <a:pt x="3267" y="1447"/>
                    <a:pt x="3264" y="1446"/>
                    <a:pt x="3264" y="1446"/>
                  </a:cubicBezTo>
                  <a:cubicBezTo>
                    <a:pt x="3251" y="1470"/>
                    <a:pt x="3251" y="1470"/>
                    <a:pt x="3251" y="1470"/>
                  </a:cubicBezTo>
                  <a:cubicBezTo>
                    <a:pt x="3251" y="1470"/>
                    <a:pt x="3254" y="1472"/>
                    <a:pt x="3259" y="1474"/>
                  </a:cubicBezTo>
                  <a:cubicBezTo>
                    <a:pt x="3264" y="1477"/>
                    <a:pt x="3271" y="1481"/>
                    <a:pt x="3279" y="1485"/>
                  </a:cubicBezTo>
                  <a:cubicBezTo>
                    <a:pt x="3295" y="1495"/>
                    <a:pt x="3317" y="1507"/>
                    <a:pt x="3338" y="1521"/>
                  </a:cubicBezTo>
                  <a:cubicBezTo>
                    <a:pt x="3359" y="1535"/>
                    <a:pt x="3379" y="1550"/>
                    <a:pt x="3393" y="1562"/>
                  </a:cubicBezTo>
                  <a:cubicBezTo>
                    <a:pt x="3401" y="1568"/>
                    <a:pt x="3407" y="1573"/>
                    <a:pt x="3411" y="1576"/>
                  </a:cubicBezTo>
                  <a:cubicBezTo>
                    <a:pt x="3415" y="1580"/>
                    <a:pt x="3417" y="1582"/>
                    <a:pt x="3417" y="1582"/>
                  </a:cubicBezTo>
                  <a:cubicBezTo>
                    <a:pt x="3436" y="1560"/>
                    <a:pt x="3436" y="1560"/>
                    <a:pt x="3436" y="1560"/>
                  </a:cubicBezTo>
                  <a:cubicBezTo>
                    <a:pt x="3436" y="1560"/>
                    <a:pt x="3434" y="1558"/>
                    <a:pt x="3430" y="1554"/>
                  </a:cubicBezTo>
                  <a:cubicBezTo>
                    <a:pt x="3425" y="1551"/>
                    <a:pt x="3419" y="1545"/>
                    <a:pt x="3411" y="1539"/>
                  </a:cubicBezTo>
                  <a:close/>
                  <a:moveTo>
                    <a:pt x="3397" y="2879"/>
                  </a:moveTo>
                  <a:cubicBezTo>
                    <a:pt x="3391" y="2887"/>
                    <a:pt x="3384" y="2897"/>
                    <a:pt x="3376" y="2907"/>
                  </a:cubicBezTo>
                  <a:cubicBezTo>
                    <a:pt x="3361" y="2926"/>
                    <a:pt x="3346" y="2946"/>
                    <a:pt x="3346" y="2946"/>
                  </a:cubicBezTo>
                  <a:cubicBezTo>
                    <a:pt x="3374" y="2968"/>
                    <a:pt x="3374" y="2968"/>
                    <a:pt x="3374" y="2968"/>
                  </a:cubicBezTo>
                  <a:cubicBezTo>
                    <a:pt x="3374" y="2968"/>
                    <a:pt x="3390" y="2948"/>
                    <a:pt x="3405" y="2928"/>
                  </a:cubicBezTo>
                  <a:cubicBezTo>
                    <a:pt x="3413" y="2918"/>
                    <a:pt x="3420" y="2908"/>
                    <a:pt x="3426" y="2900"/>
                  </a:cubicBezTo>
                  <a:cubicBezTo>
                    <a:pt x="3431" y="2893"/>
                    <a:pt x="3435" y="2888"/>
                    <a:pt x="3435" y="2888"/>
                  </a:cubicBezTo>
                  <a:cubicBezTo>
                    <a:pt x="3406" y="2867"/>
                    <a:pt x="3406" y="2867"/>
                    <a:pt x="3406" y="2867"/>
                  </a:cubicBezTo>
                  <a:cubicBezTo>
                    <a:pt x="3406" y="2867"/>
                    <a:pt x="3402" y="2872"/>
                    <a:pt x="3397" y="2879"/>
                  </a:cubicBezTo>
                  <a:close/>
                  <a:moveTo>
                    <a:pt x="2978" y="1333"/>
                  </a:moveTo>
                  <a:cubicBezTo>
                    <a:pt x="2966" y="1329"/>
                    <a:pt x="2953" y="1325"/>
                    <a:pt x="2942" y="1322"/>
                  </a:cubicBezTo>
                  <a:cubicBezTo>
                    <a:pt x="2936" y="1320"/>
                    <a:pt x="2931" y="1318"/>
                    <a:pt x="2925" y="1317"/>
                  </a:cubicBezTo>
                  <a:cubicBezTo>
                    <a:pt x="2920" y="1315"/>
                    <a:pt x="2915" y="1314"/>
                    <a:pt x="2910" y="1313"/>
                  </a:cubicBezTo>
                  <a:cubicBezTo>
                    <a:pt x="2892" y="1307"/>
                    <a:pt x="2880" y="1304"/>
                    <a:pt x="2880" y="1304"/>
                  </a:cubicBezTo>
                  <a:cubicBezTo>
                    <a:pt x="2873" y="1329"/>
                    <a:pt x="2873" y="1329"/>
                    <a:pt x="2873" y="1329"/>
                  </a:cubicBezTo>
                  <a:cubicBezTo>
                    <a:pt x="2873" y="1329"/>
                    <a:pt x="2885" y="1333"/>
                    <a:pt x="2903" y="1338"/>
                  </a:cubicBezTo>
                  <a:cubicBezTo>
                    <a:pt x="2908" y="1339"/>
                    <a:pt x="2913" y="1341"/>
                    <a:pt x="2918" y="1342"/>
                  </a:cubicBezTo>
                  <a:cubicBezTo>
                    <a:pt x="2923" y="1344"/>
                    <a:pt x="2929" y="1345"/>
                    <a:pt x="2934" y="1347"/>
                  </a:cubicBezTo>
                  <a:cubicBezTo>
                    <a:pt x="2946" y="1351"/>
                    <a:pt x="2958" y="1355"/>
                    <a:pt x="2970" y="1358"/>
                  </a:cubicBezTo>
                  <a:cubicBezTo>
                    <a:pt x="2994" y="1366"/>
                    <a:pt x="3018" y="1374"/>
                    <a:pt x="3036" y="1380"/>
                  </a:cubicBezTo>
                  <a:cubicBezTo>
                    <a:pt x="3054" y="1387"/>
                    <a:pt x="3066" y="1391"/>
                    <a:pt x="3066" y="1391"/>
                  </a:cubicBezTo>
                  <a:cubicBezTo>
                    <a:pt x="3075" y="1365"/>
                    <a:pt x="3075" y="1365"/>
                    <a:pt x="3075" y="1365"/>
                  </a:cubicBezTo>
                  <a:cubicBezTo>
                    <a:pt x="3075" y="1365"/>
                    <a:pt x="3063" y="1361"/>
                    <a:pt x="3045" y="1355"/>
                  </a:cubicBezTo>
                  <a:cubicBezTo>
                    <a:pt x="3027" y="1348"/>
                    <a:pt x="3002" y="1341"/>
                    <a:pt x="2978" y="1333"/>
                  </a:cubicBezTo>
                  <a:close/>
                  <a:moveTo>
                    <a:pt x="2579" y="1243"/>
                  </a:moveTo>
                  <a:cubicBezTo>
                    <a:pt x="2553" y="1239"/>
                    <a:pt x="2528" y="1236"/>
                    <a:pt x="2509" y="1234"/>
                  </a:cubicBezTo>
                  <a:cubicBezTo>
                    <a:pt x="2490" y="1231"/>
                    <a:pt x="2477" y="1230"/>
                    <a:pt x="2477" y="1230"/>
                  </a:cubicBezTo>
                  <a:cubicBezTo>
                    <a:pt x="2474" y="1254"/>
                    <a:pt x="2474" y="1254"/>
                    <a:pt x="2474" y="1254"/>
                  </a:cubicBezTo>
                  <a:cubicBezTo>
                    <a:pt x="2474" y="1254"/>
                    <a:pt x="2487" y="1256"/>
                    <a:pt x="2506" y="1258"/>
                  </a:cubicBezTo>
                  <a:cubicBezTo>
                    <a:pt x="2525" y="1260"/>
                    <a:pt x="2550" y="1264"/>
                    <a:pt x="2575" y="1268"/>
                  </a:cubicBezTo>
                  <a:cubicBezTo>
                    <a:pt x="2600" y="1271"/>
                    <a:pt x="2625" y="1275"/>
                    <a:pt x="2644" y="1279"/>
                  </a:cubicBezTo>
                  <a:cubicBezTo>
                    <a:pt x="2663" y="1282"/>
                    <a:pt x="2675" y="1284"/>
                    <a:pt x="2675" y="1284"/>
                  </a:cubicBezTo>
                  <a:cubicBezTo>
                    <a:pt x="2680" y="1259"/>
                    <a:pt x="2680" y="1259"/>
                    <a:pt x="2680" y="1259"/>
                  </a:cubicBezTo>
                  <a:cubicBezTo>
                    <a:pt x="2680" y="1259"/>
                    <a:pt x="2667" y="1257"/>
                    <a:pt x="2648" y="1254"/>
                  </a:cubicBezTo>
                  <a:cubicBezTo>
                    <a:pt x="2629" y="1251"/>
                    <a:pt x="2604" y="1247"/>
                    <a:pt x="2579" y="1243"/>
                  </a:cubicBezTo>
                  <a:close/>
                  <a:moveTo>
                    <a:pt x="3591" y="2521"/>
                  </a:moveTo>
                  <a:cubicBezTo>
                    <a:pt x="3589" y="2526"/>
                    <a:pt x="3587" y="2533"/>
                    <a:pt x="3583" y="2542"/>
                  </a:cubicBezTo>
                  <a:cubicBezTo>
                    <a:pt x="3577" y="2560"/>
                    <a:pt x="3567" y="2583"/>
                    <a:pt x="3557" y="2606"/>
                  </a:cubicBezTo>
                  <a:cubicBezTo>
                    <a:pt x="3547" y="2629"/>
                    <a:pt x="3536" y="2652"/>
                    <a:pt x="3528" y="2668"/>
                  </a:cubicBezTo>
                  <a:cubicBezTo>
                    <a:pt x="3519" y="2685"/>
                    <a:pt x="3513" y="2696"/>
                    <a:pt x="3513" y="2696"/>
                  </a:cubicBezTo>
                  <a:cubicBezTo>
                    <a:pt x="3544" y="2713"/>
                    <a:pt x="3544" y="2713"/>
                    <a:pt x="3544" y="2713"/>
                  </a:cubicBezTo>
                  <a:cubicBezTo>
                    <a:pt x="3544" y="2713"/>
                    <a:pt x="3550" y="2701"/>
                    <a:pt x="3558" y="2684"/>
                  </a:cubicBezTo>
                  <a:cubicBezTo>
                    <a:pt x="3567" y="2667"/>
                    <a:pt x="3578" y="2643"/>
                    <a:pt x="3589" y="2620"/>
                  </a:cubicBezTo>
                  <a:cubicBezTo>
                    <a:pt x="3599" y="2596"/>
                    <a:pt x="3608" y="2572"/>
                    <a:pt x="3615" y="2554"/>
                  </a:cubicBezTo>
                  <a:cubicBezTo>
                    <a:pt x="3618" y="2545"/>
                    <a:pt x="3621" y="2537"/>
                    <a:pt x="3623" y="2532"/>
                  </a:cubicBezTo>
                  <a:cubicBezTo>
                    <a:pt x="3625" y="2527"/>
                    <a:pt x="3626" y="2524"/>
                    <a:pt x="3626" y="2524"/>
                  </a:cubicBezTo>
                  <a:cubicBezTo>
                    <a:pt x="3594" y="2512"/>
                    <a:pt x="3594" y="2512"/>
                    <a:pt x="3594" y="2512"/>
                  </a:cubicBezTo>
                  <a:cubicBezTo>
                    <a:pt x="3594" y="2512"/>
                    <a:pt x="3593" y="2515"/>
                    <a:pt x="3591" y="2521"/>
                  </a:cubicBezTo>
                  <a:close/>
                  <a:moveTo>
                    <a:pt x="3682" y="2148"/>
                  </a:moveTo>
                  <a:cubicBezTo>
                    <a:pt x="3682" y="2138"/>
                    <a:pt x="3682" y="2130"/>
                    <a:pt x="3681" y="2124"/>
                  </a:cubicBezTo>
                  <a:cubicBezTo>
                    <a:pt x="3681" y="2119"/>
                    <a:pt x="3681" y="2116"/>
                    <a:pt x="3681" y="2116"/>
                  </a:cubicBezTo>
                  <a:cubicBezTo>
                    <a:pt x="3649" y="2118"/>
                    <a:pt x="3649" y="2118"/>
                    <a:pt x="3649" y="2118"/>
                  </a:cubicBezTo>
                  <a:cubicBezTo>
                    <a:pt x="3649" y="2118"/>
                    <a:pt x="3649" y="2121"/>
                    <a:pt x="3649" y="2126"/>
                  </a:cubicBezTo>
                  <a:cubicBezTo>
                    <a:pt x="3650" y="2132"/>
                    <a:pt x="3650" y="2140"/>
                    <a:pt x="3650" y="2149"/>
                  </a:cubicBezTo>
                  <a:cubicBezTo>
                    <a:pt x="3651" y="2168"/>
                    <a:pt x="3651" y="2193"/>
                    <a:pt x="3650" y="2218"/>
                  </a:cubicBezTo>
                  <a:cubicBezTo>
                    <a:pt x="3649" y="2243"/>
                    <a:pt x="3647" y="2268"/>
                    <a:pt x="3645" y="2287"/>
                  </a:cubicBezTo>
                  <a:cubicBezTo>
                    <a:pt x="3644" y="2296"/>
                    <a:pt x="3643" y="2304"/>
                    <a:pt x="3642" y="2309"/>
                  </a:cubicBezTo>
                  <a:cubicBezTo>
                    <a:pt x="3642" y="2315"/>
                    <a:pt x="3641" y="2318"/>
                    <a:pt x="3641" y="2318"/>
                  </a:cubicBezTo>
                  <a:cubicBezTo>
                    <a:pt x="3674" y="2322"/>
                    <a:pt x="3674" y="2322"/>
                    <a:pt x="3674" y="2322"/>
                  </a:cubicBezTo>
                  <a:cubicBezTo>
                    <a:pt x="3674" y="2322"/>
                    <a:pt x="3674" y="2319"/>
                    <a:pt x="3675" y="2313"/>
                  </a:cubicBezTo>
                  <a:cubicBezTo>
                    <a:pt x="3676" y="2308"/>
                    <a:pt x="3677" y="2300"/>
                    <a:pt x="3678" y="2290"/>
                  </a:cubicBezTo>
                  <a:cubicBezTo>
                    <a:pt x="3680" y="2271"/>
                    <a:pt x="3682" y="2245"/>
                    <a:pt x="3682" y="2219"/>
                  </a:cubicBezTo>
                  <a:cubicBezTo>
                    <a:pt x="3683" y="2193"/>
                    <a:pt x="3683" y="2167"/>
                    <a:pt x="3682" y="2148"/>
                  </a:cubicBezTo>
                  <a:close/>
                  <a:moveTo>
                    <a:pt x="2076" y="230"/>
                  </a:moveTo>
                  <a:cubicBezTo>
                    <a:pt x="2082" y="230"/>
                    <a:pt x="2088" y="229"/>
                    <a:pt x="2094" y="229"/>
                  </a:cubicBezTo>
                  <a:cubicBezTo>
                    <a:pt x="2083" y="211"/>
                    <a:pt x="2068" y="197"/>
                    <a:pt x="2052" y="185"/>
                  </a:cubicBezTo>
                  <a:cubicBezTo>
                    <a:pt x="2032" y="169"/>
                    <a:pt x="2010" y="156"/>
                    <a:pt x="1987" y="145"/>
                  </a:cubicBezTo>
                  <a:cubicBezTo>
                    <a:pt x="1974" y="139"/>
                    <a:pt x="1961" y="133"/>
                    <a:pt x="1948" y="128"/>
                  </a:cubicBezTo>
                  <a:cubicBezTo>
                    <a:pt x="1948" y="133"/>
                    <a:pt x="1947" y="139"/>
                    <a:pt x="1946" y="144"/>
                  </a:cubicBezTo>
                  <a:cubicBezTo>
                    <a:pt x="1958" y="149"/>
                    <a:pt x="1969" y="154"/>
                    <a:pt x="1980" y="159"/>
                  </a:cubicBezTo>
                  <a:cubicBezTo>
                    <a:pt x="2002" y="170"/>
                    <a:pt x="2023" y="182"/>
                    <a:pt x="2043" y="197"/>
                  </a:cubicBezTo>
                  <a:cubicBezTo>
                    <a:pt x="2055" y="207"/>
                    <a:pt x="2066" y="218"/>
                    <a:pt x="2076" y="230"/>
                  </a:cubicBezTo>
                  <a:close/>
                  <a:moveTo>
                    <a:pt x="1949" y="472"/>
                  </a:moveTo>
                  <a:cubicBezTo>
                    <a:pt x="1906" y="496"/>
                    <a:pt x="1861" y="515"/>
                    <a:pt x="1816" y="532"/>
                  </a:cubicBezTo>
                  <a:cubicBezTo>
                    <a:pt x="1814" y="533"/>
                    <a:pt x="1812" y="534"/>
                    <a:pt x="1810" y="535"/>
                  </a:cubicBezTo>
                  <a:cubicBezTo>
                    <a:pt x="1813" y="539"/>
                    <a:pt x="1816" y="544"/>
                    <a:pt x="1819" y="549"/>
                  </a:cubicBezTo>
                  <a:cubicBezTo>
                    <a:pt x="1820" y="549"/>
                    <a:pt x="1821" y="549"/>
                    <a:pt x="1822" y="548"/>
                  </a:cubicBezTo>
                  <a:cubicBezTo>
                    <a:pt x="1868" y="531"/>
                    <a:pt x="1914" y="511"/>
                    <a:pt x="1957" y="486"/>
                  </a:cubicBezTo>
                  <a:cubicBezTo>
                    <a:pt x="1961" y="484"/>
                    <a:pt x="1965" y="482"/>
                    <a:pt x="1969" y="480"/>
                  </a:cubicBezTo>
                  <a:cubicBezTo>
                    <a:pt x="1963" y="477"/>
                    <a:pt x="1958" y="474"/>
                    <a:pt x="1952" y="470"/>
                  </a:cubicBezTo>
                  <a:cubicBezTo>
                    <a:pt x="1951" y="471"/>
                    <a:pt x="1950" y="471"/>
                    <a:pt x="1949" y="472"/>
                  </a:cubicBezTo>
                  <a:close/>
                  <a:moveTo>
                    <a:pt x="1835" y="1182"/>
                  </a:moveTo>
                  <a:cubicBezTo>
                    <a:pt x="1816" y="1180"/>
                    <a:pt x="1790" y="1179"/>
                    <a:pt x="1765" y="1178"/>
                  </a:cubicBezTo>
                  <a:cubicBezTo>
                    <a:pt x="1739" y="1177"/>
                    <a:pt x="1714" y="1176"/>
                    <a:pt x="1695" y="1175"/>
                  </a:cubicBezTo>
                  <a:cubicBezTo>
                    <a:pt x="1676" y="1174"/>
                    <a:pt x="1663" y="1173"/>
                    <a:pt x="1663" y="1173"/>
                  </a:cubicBezTo>
                  <a:cubicBezTo>
                    <a:pt x="1662" y="1194"/>
                    <a:pt x="1662" y="1194"/>
                    <a:pt x="1662" y="1194"/>
                  </a:cubicBezTo>
                  <a:cubicBezTo>
                    <a:pt x="1662" y="1194"/>
                    <a:pt x="1675" y="1195"/>
                    <a:pt x="1694" y="1196"/>
                  </a:cubicBezTo>
                  <a:cubicBezTo>
                    <a:pt x="1713" y="1197"/>
                    <a:pt x="1738" y="1198"/>
                    <a:pt x="1764" y="1199"/>
                  </a:cubicBezTo>
                  <a:cubicBezTo>
                    <a:pt x="1789" y="1200"/>
                    <a:pt x="1815" y="1202"/>
                    <a:pt x="1834" y="1203"/>
                  </a:cubicBezTo>
                  <a:cubicBezTo>
                    <a:pt x="1843" y="1204"/>
                    <a:pt x="1851" y="1204"/>
                    <a:pt x="1857" y="1205"/>
                  </a:cubicBezTo>
                  <a:cubicBezTo>
                    <a:pt x="1862" y="1205"/>
                    <a:pt x="1865" y="1205"/>
                    <a:pt x="1865" y="1205"/>
                  </a:cubicBezTo>
                  <a:cubicBezTo>
                    <a:pt x="1867" y="1184"/>
                    <a:pt x="1867" y="1184"/>
                    <a:pt x="1867" y="1184"/>
                  </a:cubicBezTo>
                  <a:cubicBezTo>
                    <a:pt x="1867" y="1184"/>
                    <a:pt x="1864" y="1184"/>
                    <a:pt x="1858" y="1183"/>
                  </a:cubicBezTo>
                  <a:cubicBezTo>
                    <a:pt x="1853" y="1183"/>
                    <a:pt x="1845" y="1182"/>
                    <a:pt x="1835" y="1182"/>
                  </a:cubicBezTo>
                  <a:close/>
                  <a:moveTo>
                    <a:pt x="2069" y="1220"/>
                  </a:moveTo>
                  <a:cubicBezTo>
                    <a:pt x="2272" y="1234"/>
                    <a:pt x="2272" y="1234"/>
                    <a:pt x="2272" y="1234"/>
                  </a:cubicBezTo>
                  <a:cubicBezTo>
                    <a:pt x="2274" y="1211"/>
                    <a:pt x="2274" y="1211"/>
                    <a:pt x="2274" y="1211"/>
                  </a:cubicBezTo>
                  <a:cubicBezTo>
                    <a:pt x="2070" y="1197"/>
                    <a:pt x="2070" y="1197"/>
                    <a:pt x="2070" y="1197"/>
                  </a:cubicBezTo>
                  <a:lnTo>
                    <a:pt x="2069" y="1220"/>
                  </a:lnTo>
                  <a:close/>
                  <a:moveTo>
                    <a:pt x="2100" y="361"/>
                  </a:moveTo>
                  <a:cubicBezTo>
                    <a:pt x="2105" y="349"/>
                    <a:pt x="2110" y="337"/>
                    <a:pt x="2113" y="324"/>
                  </a:cubicBezTo>
                  <a:cubicBezTo>
                    <a:pt x="2113" y="321"/>
                    <a:pt x="2114" y="319"/>
                    <a:pt x="2114" y="316"/>
                  </a:cubicBezTo>
                  <a:cubicBezTo>
                    <a:pt x="2113" y="316"/>
                    <a:pt x="2113" y="316"/>
                    <a:pt x="2112" y="316"/>
                  </a:cubicBezTo>
                  <a:cubicBezTo>
                    <a:pt x="2107" y="316"/>
                    <a:pt x="2102" y="316"/>
                    <a:pt x="2098" y="316"/>
                  </a:cubicBezTo>
                  <a:cubicBezTo>
                    <a:pt x="2097" y="317"/>
                    <a:pt x="2097" y="319"/>
                    <a:pt x="2097" y="320"/>
                  </a:cubicBezTo>
                  <a:cubicBezTo>
                    <a:pt x="2094" y="332"/>
                    <a:pt x="2090" y="343"/>
                    <a:pt x="2085" y="354"/>
                  </a:cubicBezTo>
                  <a:cubicBezTo>
                    <a:pt x="2080" y="365"/>
                    <a:pt x="2073" y="375"/>
                    <a:pt x="2066" y="384"/>
                  </a:cubicBezTo>
                  <a:cubicBezTo>
                    <a:pt x="2051" y="403"/>
                    <a:pt x="2033" y="419"/>
                    <a:pt x="2013" y="432"/>
                  </a:cubicBezTo>
                  <a:cubicBezTo>
                    <a:pt x="2019" y="435"/>
                    <a:pt x="2024" y="437"/>
                    <a:pt x="2030" y="439"/>
                  </a:cubicBezTo>
                  <a:cubicBezTo>
                    <a:pt x="2031" y="439"/>
                    <a:pt x="2031" y="439"/>
                    <a:pt x="2032" y="439"/>
                  </a:cubicBezTo>
                  <a:cubicBezTo>
                    <a:pt x="2049" y="426"/>
                    <a:pt x="2065" y="412"/>
                    <a:pt x="2079" y="395"/>
                  </a:cubicBezTo>
                  <a:cubicBezTo>
                    <a:pt x="2087" y="384"/>
                    <a:pt x="2094" y="373"/>
                    <a:pt x="2100" y="361"/>
                  </a:cubicBezTo>
                  <a:close/>
                  <a:moveTo>
                    <a:pt x="1733" y="579"/>
                  </a:moveTo>
                  <a:cubicBezTo>
                    <a:pt x="1730" y="574"/>
                    <a:pt x="1728" y="569"/>
                    <a:pt x="1725" y="564"/>
                  </a:cubicBezTo>
                  <a:cubicBezTo>
                    <a:pt x="1710" y="568"/>
                    <a:pt x="1695" y="573"/>
                    <a:pt x="1680" y="578"/>
                  </a:cubicBezTo>
                  <a:cubicBezTo>
                    <a:pt x="1638" y="591"/>
                    <a:pt x="1596" y="604"/>
                    <a:pt x="1555" y="618"/>
                  </a:cubicBezTo>
                  <a:cubicBezTo>
                    <a:pt x="1557" y="623"/>
                    <a:pt x="1559" y="628"/>
                    <a:pt x="1561" y="634"/>
                  </a:cubicBezTo>
                  <a:cubicBezTo>
                    <a:pt x="1601" y="620"/>
                    <a:pt x="1643" y="607"/>
                    <a:pt x="1685" y="594"/>
                  </a:cubicBezTo>
                  <a:cubicBezTo>
                    <a:pt x="1701" y="589"/>
                    <a:pt x="1717" y="584"/>
                    <a:pt x="1733" y="57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77"/>
            <p:cNvSpPr>
              <a:spLocks/>
            </p:cNvSpPr>
            <p:nvPr/>
          </p:nvSpPr>
          <p:spPr bwMode="auto">
            <a:xfrm>
              <a:off x="-3859698" y="1078717"/>
              <a:ext cx="10910891" cy="5975697"/>
            </a:xfrm>
            <a:custGeom>
              <a:avLst/>
              <a:gdLst>
                <a:gd name="T0" fmla="*/ 889 w 5391"/>
                <a:gd name="T1" fmla="*/ 185 h 2951"/>
                <a:gd name="T2" fmla="*/ 1785 w 5391"/>
                <a:gd name="T3" fmla="*/ 25 h 2951"/>
                <a:gd name="T4" fmla="*/ 2012 w 5391"/>
                <a:gd name="T5" fmla="*/ 1 h 2951"/>
                <a:gd name="T6" fmla="*/ 2126 w 5391"/>
                <a:gd name="T7" fmla="*/ 0 h 2951"/>
                <a:gd name="T8" fmla="*/ 2919 w 5391"/>
                <a:gd name="T9" fmla="*/ 83 h 2951"/>
                <a:gd name="T10" fmla="*/ 3021 w 5391"/>
                <a:gd name="T11" fmla="*/ 101 h 2951"/>
                <a:gd name="T12" fmla="*/ 3141 w 5391"/>
                <a:gd name="T13" fmla="*/ 132 h 2951"/>
                <a:gd name="T14" fmla="*/ 3485 w 5391"/>
                <a:gd name="T15" fmla="*/ 396 h 2951"/>
                <a:gd name="T16" fmla="*/ 3470 w 5391"/>
                <a:gd name="T17" fmla="*/ 473 h 2951"/>
                <a:gd name="T18" fmla="*/ 3439 w 5391"/>
                <a:gd name="T19" fmla="*/ 525 h 2951"/>
                <a:gd name="T20" fmla="*/ 3136 w 5391"/>
                <a:gd name="T21" fmla="*/ 676 h 2951"/>
                <a:gd name="T22" fmla="*/ 2748 w 5391"/>
                <a:gd name="T23" fmla="*/ 800 h 2951"/>
                <a:gd name="T24" fmla="*/ 2670 w 5391"/>
                <a:gd name="T25" fmla="*/ 873 h 2951"/>
                <a:gd name="T26" fmla="*/ 2687 w 5391"/>
                <a:gd name="T27" fmla="*/ 1019 h 2951"/>
                <a:gd name="T28" fmla="*/ 2707 w 5391"/>
                <a:gd name="T29" fmla="*/ 1039 h 2951"/>
                <a:gd name="T30" fmla="*/ 2731 w 5391"/>
                <a:gd name="T31" fmla="*/ 1056 h 2951"/>
                <a:gd name="T32" fmla="*/ 3000 w 5391"/>
                <a:gd name="T33" fmla="*/ 1121 h 2951"/>
                <a:gd name="T34" fmla="*/ 3350 w 5391"/>
                <a:gd name="T35" fmla="*/ 1126 h 2951"/>
                <a:gd name="T36" fmla="*/ 3375 w 5391"/>
                <a:gd name="T37" fmla="*/ 1125 h 2951"/>
                <a:gd name="T38" fmla="*/ 3956 w 5391"/>
                <a:gd name="T39" fmla="*/ 1134 h 2951"/>
                <a:gd name="T40" fmla="*/ 4852 w 5391"/>
                <a:gd name="T41" fmla="*/ 1453 h 2951"/>
                <a:gd name="T42" fmla="*/ 5176 w 5391"/>
                <a:gd name="T43" fmla="*/ 1757 h 2951"/>
                <a:gd name="T44" fmla="*/ 5301 w 5391"/>
                <a:gd name="T45" fmla="*/ 1963 h 2951"/>
                <a:gd name="T46" fmla="*/ 5383 w 5391"/>
                <a:gd name="T47" fmla="*/ 2228 h 2951"/>
                <a:gd name="T48" fmla="*/ 5353 w 5391"/>
                <a:gd name="T49" fmla="*/ 2458 h 2951"/>
                <a:gd name="T50" fmla="*/ 5347 w 5391"/>
                <a:gd name="T51" fmla="*/ 2512 h 2951"/>
                <a:gd name="T52" fmla="*/ 5344 w 5391"/>
                <a:gd name="T53" fmla="*/ 2595 h 2951"/>
                <a:gd name="T54" fmla="*/ 5345 w 5391"/>
                <a:gd name="T55" fmla="*/ 2620 h 2951"/>
                <a:gd name="T56" fmla="*/ 5382 w 5391"/>
                <a:gd name="T57" fmla="*/ 2808 h 2951"/>
                <a:gd name="T58" fmla="*/ 5390 w 5391"/>
                <a:gd name="T59" fmla="*/ 2873 h 2951"/>
                <a:gd name="T60" fmla="*/ 5386 w 5391"/>
                <a:gd name="T61" fmla="*/ 2939 h 2951"/>
                <a:gd name="T62" fmla="*/ 5350 w 5391"/>
                <a:gd name="T63" fmla="*/ 2915 h 2951"/>
                <a:gd name="T64" fmla="*/ 5370 w 5391"/>
                <a:gd name="T65" fmla="*/ 2915 h 2951"/>
                <a:gd name="T66" fmla="*/ 5369 w 5391"/>
                <a:gd name="T67" fmla="*/ 2853 h 2951"/>
                <a:gd name="T68" fmla="*/ 5336 w 5391"/>
                <a:gd name="T69" fmla="*/ 2686 h 2951"/>
                <a:gd name="T70" fmla="*/ 5325 w 5391"/>
                <a:gd name="T71" fmla="*/ 2601 h 2951"/>
                <a:gd name="T72" fmla="*/ 5325 w 5391"/>
                <a:gd name="T73" fmla="*/ 2589 h 2951"/>
                <a:gd name="T74" fmla="*/ 5328 w 5391"/>
                <a:gd name="T75" fmla="*/ 2509 h 2951"/>
                <a:gd name="T76" fmla="*/ 5336 w 5391"/>
                <a:gd name="T77" fmla="*/ 2438 h 2951"/>
                <a:gd name="T78" fmla="*/ 5333 w 5391"/>
                <a:gd name="T79" fmla="*/ 2096 h 2951"/>
                <a:gd name="T80" fmla="*/ 5182 w 5391"/>
                <a:gd name="T81" fmla="*/ 1795 h 2951"/>
                <a:gd name="T82" fmla="*/ 4951 w 5391"/>
                <a:gd name="T83" fmla="*/ 1548 h 2951"/>
                <a:gd name="T84" fmla="*/ 4222 w 5391"/>
                <a:gd name="T85" fmla="*/ 1196 h 2951"/>
                <a:gd name="T86" fmla="*/ 3409 w 5391"/>
                <a:gd name="T87" fmla="*/ 1137 h 2951"/>
                <a:gd name="T88" fmla="*/ 3352 w 5391"/>
                <a:gd name="T89" fmla="*/ 1138 h 2951"/>
                <a:gd name="T90" fmla="*/ 3136 w 5391"/>
                <a:gd name="T91" fmla="*/ 1138 h 2951"/>
                <a:gd name="T92" fmla="*/ 2733 w 5391"/>
                <a:gd name="T93" fmla="*/ 1070 h 2951"/>
                <a:gd name="T94" fmla="*/ 2704 w 5391"/>
                <a:gd name="T95" fmla="*/ 1050 h 2951"/>
                <a:gd name="T96" fmla="*/ 2685 w 5391"/>
                <a:gd name="T97" fmla="*/ 1032 h 2951"/>
                <a:gd name="T98" fmla="*/ 2657 w 5391"/>
                <a:gd name="T99" fmla="*/ 876 h 2951"/>
                <a:gd name="T100" fmla="*/ 2713 w 5391"/>
                <a:gd name="T101" fmla="*/ 810 h 2951"/>
                <a:gd name="T102" fmla="*/ 3067 w 5391"/>
                <a:gd name="T103" fmla="*/ 683 h 2951"/>
                <a:gd name="T104" fmla="*/ 3383 w 5391"/>
                <a:gd name="T105" fmla="*/ 565 h 2951"/>
                <a:gd name="T106" fmla="*/ 3459 w 5391"/>
                <a:gd name="T107" fmla="*/ 477 h 2951"/>
                <a:gd name="T108" fmla="*/ 3477 w 5391"/>
                <a:gd name="T109" fmla="*/ 397 h 2951"/>
                <a:gd name="T110" fmla="*/ 3139 w 5391"/>
                <a:gd name="T111" fmla="*/ 139 h 2951"/>
                <a:gd name="T112" fmla="*/ 3019 w 5391"/>
                <a:gd name="T113" fmla="*/ 108 h 2951"/>
                <a:gd name="T114" fmla="*/ 2918 w 5391"/>
                <a:gd name="T115" fmla="*/ 89 h 2951"/>
                <a:gd name="T116" fmla="*/ 2126 w 5391"/>
                <a:gd name="T117" fmla="*/ 5 h 2951"/>
                <a:gd name="T118" fmla="*/ 2012 w 5391"/>
                <a:gd name="T119" fmla="*/ 5 h 2951"/>
                <a:gd name="T120" fmla="*/ 1786 w 5391"/>
                <a:gd name="T121" fmla="*/ 30 h 2951"/>
                <a:gd name="T122" fmla="*/ 889 w 5391"/>
                <a:gd name="T123" fmla="*/ 187 h 2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91" h="2951">
                  <a:moveTo>
                    <a:pt x="0" y="382"/>
                  </a:moveTo>
                  <a:cubicBezTo>
                    <a:pt x="146" y="342"/>
                    <a:pt x="293" y="303"/>
                    <a:pt x="441" y="268"/>
                  </a:cubicBezTo>
                  <a:cubicBezTo>
                    <a:pt x="515" y="251"/>
                    <a:pt x="589" y="235"/>
                    <a:pt x="664" y="221"/>
                  </a:cubicBezTo>
                  <a:cubicBezTo>
                    <a:pt x="738" y="207"/>
                    <a:pt x="813" y="195"/>
                    <a:pt x="889" y="185"/>
                  </a:cubicBezTo>
                  <a:cubicBezTo>
                    <a:pt x="1039" y="164"/>
                    <a:pt x="1189" y="142"/>
                    <a:pt x="1338" y="111"/>
                  </a:cubicBezTo>
                  <a:cubicBezTo>
                    <a:pt x="1375" y="104"/>
                    <a:pt x="1412" y="95"/>
                    <a:pt x="1449" y="87"/>
                  </a:cubicBezTo>
                  <a:cubicBezTo>
                    <a:pt x="1486" y="79"/>
                    <a:pt x="1524" y="71"/>
                    <a:pt x="1561" y="64"/>
                  </a:cubicBezTo>
                  <a:cubicBezTo>
                    <a:pt x="1635" y="49"/>
                    <a:pt x="1710" y="35"/>
                    <a:pt x="1785" y="25"/>
                  </a:cubicBezTo>
                  <a:cubicBezTo>
                    <a:pt x="1814" y="22"/>
                    <a:pt x="1814" y="22"/>
                    <a:pt x="1814" y="22"/>
                  </a:cubicBezTo>
                  <a:cubicBezTo>
                    <a:pt x="1823" y="20"/>
                    <a:pt x="1832" y="19"/>
                    <a:pt x="1842" y="18"/>
                  </a:cubicBezTo>
                  <a:cubicBezTo>
                    <a:pt x="1860" y="14"/>
                    <a:pt x="1879" y="12"/>
                    <a:pt x="1898" y="9"/>
                  </a:cubicBezTo>
                  <a:cubicBezTo>
                    <a:pt x="1936" y="5"/>
                    <a:pt x="1974" y="2"/>
                    <a:pt x="2012" y="1"/>
                  </a:cubicBezTo>
                  <a:cubicBezTo>
                    <a:pt x="2021" y="0"/>
                    <a:pt x="2031" y="0"/>
                    <a:pt x="2040" y="0"/>
                  </a:cubicBezTo>
                  <a:cubicBezTo>
                    <a:pt x="2069" y="0"/>
                    <a:pt x="2069" y="0"/>
                    <a:pt x="2069" y="0"/>
                  </a:cubicBezTo>
                  <a:cubicBezTo>
                    <a:pt x="2097" y="0"/>
                    <a:pt x="2097" y="0"/>
                    <a:pt x="2097" y="0"/>
                  </a:cubicBezTo>
                  <a:cubicBezTo>
                    <a:pt x="2107" y="0"/>
                    <a:pt x="2116" y="0"/>
                    <a:pt x="2126" y="0"/>
                  </a:cubicBezTo>
                  <a:cubicBezTo>
                    <a:pt x="2164" y="1"/>
                    <a:pt x="2202" y="3"/>
                    <a:pt x="2240" y="6"/>
                  </a:cubicBezTo>
                  <a:cubicBezTo>
                    <a:pt x="2315" y="11"/>
                    <a:pt x="2391" y="18"/>
                    <a:pt x="2467" y="26"/>
                  </a:cubicBezTo>
                  <a:cubicBezTo>
                    <a:pt x="2693" y="52"/>
                    <a:pt x="2693" y="52"/>
                    <a:pt x="2693" y="52"/>
                  </a:cubicBezTo>
                  <a:cubicBezTo>
                    <a:pt x="2768" y="61"/>
                    <a:pt x="2844" y="71"/>
                    <a:pt x="2919" y="83"/>
                  </a:cubicBezTo>
                  <a:cubicBezTo>
                    <a:pt x="2937" y="86"/>
                    <a:pt x="2956" y="89"/>
                    <a:pt x="2975" y="92"/>
                  </a:cubicBezTo>
                  <a:cubicBezTo>
                    <a:pt x="2984" y="94"/>
                    <a:pt x="2994" y="96"/>
                    <a:pt x="3003" y="97"/>
                  </a:cubicBezTo>
                  <a:cubicBezTo>
                    <a:pt x="3017" y="100"/>
                    <a:pt x="3017" y="100"/>
                    <a:pt x="3017" y="100"/>
                  </a:cubicBezTo>
                  <a:cubicBezTo>
                    <a:pt x="3018" y="100"/>
                    <a:pt x="3019" y="100"/>
                    <a:pt x="3021" y="101"/>
                  </a:cubicBezTo>
                  <a:cubicBezTo>
                    <a:pt x="3024" y="102"/>
                    <a:pt x="3024" y="102"/>
                    <a:pt x="3024" y="102"/>
                  </a:cubicBezTo>
                  <a:cubicBezTo>
                    <a:pt x="3031" y="103"/>
                    <a:pt x="3031" y="103"/>
                    <a:pt x="3031" y="103"/>
                  </a:cubicBezTo>
                  <a:cubicBezTo>
                    <a:pt x="3086" y="118"/>
                    <a:pt x="3086" y="118"/>
                    <a:pt x="3086" y="118"/>
                  </a:cubicBezTo>
                  <a:cubicBezTo>
                    <a:pt x="3104" y="122"/>
                    <a:pt x="3123" y="127"/>
                    <a:pt x="3141" y="132"/>
                  </a:cubicBezTo>
                  <a:cubicBezTo>
                    <a:pt x="3178" y="142"/>
                    <a:pt x="3214" y="152"/>
                    <a:pt x="3250" y="166"/>
                  </a:cubicBezTo>
                  <a:cubicBezTo>
                    <a:pt x="3286" y="179"/>
                    <a:pt x="3321" y="195"/>
                    <a:pt x="3354" y="215"/>
                  </a:cubicBezTo>
                  <a:cubicBezTo>
                    <a:pt x="3386" y="235"/>
                    <a:pt x="3416" y="260"/>
                    <a:pt x="3440" y="291"/>
                  </a:cubicBezTo>
                  <a:cubicBezTo>
                    <a:pt x="3463" y="321"/>
                    <a:pt x="3479" y="358"/>
                    <a:pt x="3485" y="396"/>
                  </a:cubicBezTo>
                  <a:cubicBezTo>
                    <a:pt x="3486" y="396"/>
                    <a:pt x="3486" y="396"/>
                    <a:pt x="3486" y="396"/>
                  </a:cubicBezTo>
                  <a:cubicBezTo>
                    <a:pt x="3486" y="396"/>
                    <a:pt x="3486" y="396"/>
                    <a:pt x="3486" y="396"/>
                  </a:cubicBezTo>
                  <a:cubicBezTo>
                    <a:pt x="3486" y="420"/>
                    <a:pt x="3481" y="443"/>
                    <a:pt x="3474" y="465"/>
                  </a:cubicBezTo>
                  <a:cubicBezTo>
                    <a:pt x="3473" y="467"/>
                    <a:pt x="3472" y="470"/>
                    <a:pt x="3470" y="473"/>
                  </a:cubicBezTo>
                  <a:cubicBezTo>
                    <a:pt x="3467" y="481"/>
                    <a:pt x="3467" y="481"/>
                    <a:pt x="3467" y="481"/>
                  </a:cubicBezTo>
                  <a:cubicBezTo>
                    <a:pt x="3466" y="483"/>
                    <a:pt x="3464" y="486"/>
                    <a:pt x="3463" y="489"/>
                  </a:cubicBezTo>
                  <a:cubicBezTo>
                    <a:pt x="3462" y="491"/>
                    <a:pt x="3461" y="494"/>
                    <a:pt x="3459" y="496"/>
                  </a:cubicBezTo>
                  <a:cubicBezTo>
                    <a:pt x="3453" y="507"/>
                    <a:pt x="3446" y="516"/>
                    <a:pt x="3439" y="525"/>
                  </a:cubicBezTo>
                  <a:cubicBezTo>
                    <a:pt x="3424" y="543"/>
                    <a:pt x="3407" y="558"/>
                    <a:pt x="3388" y="572"/>
                  </a:cubicBezTo>
                  <a:cubicBezTo>
                    <a:pt x="3370" y="586"/>
                    <a:pt x="3350" y="597"/>
                    <a:pt x="3329" y="608"/>
                  </a:cubicBezTo>
                  <a:cubicBezTo>
                    <a:pt x="3288" y="628"/>
                    <a:pt x="3245" y="644"/>
                    <a:pt x="3202" y="657"/>
                  </a:cubicBezTo>
                  <a:cubicBezTo>
                    <a:pt x="3180" y="664"/>
                    <a:pt x="3158" y="670"/>
                    <a:pt x="3136" y="676"/>
                  </a:cubicBezTo>
                  <a:cubicBezTo>
                    <a:pt x="3113" y="681"/>
                    <a:pt x="3091" y="687"/>
                    <a:pt x="3069" y="692"/>
                  </a:cubicBezTo>
                  <a:cubicBezTo>
                    <a:pt x="3025" y="703"/>
                    <a:pt x="2981" y="714"/>
                    <a:pt x="2937" y="726"/>
                  </a:cubicBezTo>
                  <a:cubicBezTo>
                    <a:pt x="2894" y="739"/>
                    <a:pt x="2850" y="753"/>
                    <a:pt x="2808" y="770"/>
                  </a:cubicBezTo>
                  <a:cubicBezTo>
                    <a:pt x="2788" y="779"/>
                    <a:pt x="2767" y="788"/>
                    <a:pt x="2748" y="800"/>
                  </a:cubicBezTo>
                  <a:cubicBezTo>
                    <a:pt x="2738" y="805"/>
                    <a:pt x="2728" y="811"/>
                    <a:pt x="2719" y="818"/>
                  </a:cubicBezTo>
                  <a:cubicBezTo>
                    <a:pt x="2710" y="825"/>
                    <a:pt x="2702" y="832"/>
                    <a:pt x="2694" y="840"/>
                  </a:cubicBezTo>
                  <a:cubicBezTo>
                    <a:pt x="2686" y="847"/>
                    <a:pt x="2679" y="856"/>
                    <a:pt x="2674" y="865"/>
                  </a:cubicBezTo>
                  <a:cubicBezTo>
                    <a:pt x="2670" y="873"/>
                    <a:pt x="2670" y="873"/>
                    <a:pt x="2670" y="873"/>
                  </a:cubicBezTo>
                  <a:cubicBezTo>
                    <a:pt x="2668" y="875"/>
                    <a:pt x="2667" y="878"/>
                    <a:pt x="2666" y="880"/>
                  </a:cubicBezTo>
                  <a:cubicBezTo>
                    <a:pt x="2664" y="885"/>
                    <a:pt x="2662" y="890"/>
                    <a:pt x="2661" y="895"/>
                  </a:cubicBezTo>
                  <a:cubicBezTo>
                    <a:pt x="2655" y="916"/>
                    <a:pt x="2653" y="939"/>
                    <a:pt x="2659" y="960"/>
                  </a:cubicBezTo>
                  <a:cubicBezTo>
                    <a:pt x="2663" y="982"/>
                    <a:pt x="2673" y="1002"/>
                    <a:pt x="2687" y="1019"/>
                  </a:cubicBezTo>
                  <a:cubicBezTo>
                    <a:pt x="2689" y="1021"/>
                    <a:pt x="2691" y="1023"/>
                    <a:pt x="2693" y="1025"/>
                  </a:cubicBezTo>
                  <a:cubicBezTo>
                    <a:pt x="2695" y="1027"/>
                    <a:pt x="2696" y="1029"/>
                    <a:pt x="2698" y="1031"/>
                  </a:cubicBezTo>
                  <a:cubicBezTo>
                    <a:pt x="2704" y="1036"/>
                    <a:pt x="2704" y="1036"/>
                    <a:pt x="2704" y="1036"/>
                  </a:cubicBezTo>
                  <a:cubicBezTo>
                    <a:pt x="2707" y="1039"/>
                    <a:pt x="2707" y="1039"/>
                    <a:pt x="2707" y="1039"/>
                  </a:cubicBezTo>
                  <a:cubicBezTo>
                    <a:pt x="2711" y="1042"/>
                    <a:pt x="2711" y="1042"/>
                    <a:pt x="2711" y="1042"/>
                  </a:cubicBezTo>
                  <a:cubicBezTo>
                    <a:pt x="2713" y="1043"/>
                    <a:pt x="2715" y="1045"/>
                    <a:pt x="2717" y="1047"/>
                  </a:cubicBezTo>
                  <a:cubicBezTo>
                    <a:pt x="2724" y="1051"/>
                    <a:pt x="2724" y="1051"/>
                    <a:pt x="2724" y="1051"/>
                  </a:cubicBezTo>
                  <a:cubicBezTo>
                    <a:pt x="2726" y="1053"/>
                    <a:pt x="2729" y="1054"/>
                    <a:pt x="2731" y="1056"/>
                  </a:cubicBezTo>
                  <a:cubicBezTo>
                    <a:pt x="2734" y="1057"/>
                    <a:pt x="2736" y="1059"/>
                    <a:pt x="2738" y="1060"/>
                  </a:cubicBezTo>
                  <a:cubicBezTo>
                    <a:pt x="2758" y="1071"/>
                    <a:pt x="2779" y="1080"/>
                    <a:pt x="2800" y="1087"/>
                  </a:cubicBezTo>
                  <a:cubicBezTo>
                    <a:pt x="2821" y="1094"/>
                    <a:pt x="2843" y="1099"/>
                    <a:pt x="2865" y="1104"/>
                  </a:cubicBezTo>
                  <a:cubicBezTo>
                    <a:pt x="2910" y="1112"/>
                    <a:pt x="2955" y="1117"/>
                    <a:pt x="3000" y="1121"/>
                  </a:cubicBezTo>
                  <a:cubicBezTo>
                    <a:pt x="3045" y="1124"/>
                    <a:pt x="3091" y="1125"/>
                    <a:pt x="3136" y="1126"/>
                  </a:cubicBezTo>
                  <a:cubicBezTo>
                    <a:pt x="3182" y="1126"/>
                    <a:pt x="3227" y="1126"/>
                    <a:pt x="3273" y="1126"/>
                  </a:cubicBezTo>
                  <a:cubicBezTo>
                    <a:pt x="3295" y="1126"/>
                    <a:pt x="3318" y="1126"/>
                    <a:pt x="3341" y="1126"/>
                  </a:cubicBezTo>
                  <a:cubicBezTo>
                    <a:pt x="3350" y="1126"/>
                    <a:pt x="3350" y="1126"/>
                    <a:pt x="3350" y="1126"/>
                  </a:cubicBezTo>
                  <a:cubicBezTo>
                    <a:pt x="3352" y="1126"/>
                    <a:pt x="3352" y="1126"/>
                    <a:pt x="3352" y="1126"/>
                  </a:cubicBezTo>
                  <a:cubicBezTo>
                    <a:pt x="3354" y="1126"/>
                    <a:pt x="3354" y="1126"/>
                    <a:pt x="3354" y="1126"/>
                  </a:cubicBezTo>
                  <a:cubicBezTo>
                    <a:pt x="3358" y="1126"/>
                    <a:pt x="3358" y="1126"/>
                    <a:pt x="3358" y="1126"/>
                  </a:cubicBezTo>
                  <a:cubicBezTo>
                    <a:pt x="3375" y="1125"/>
                    <a:pt x="3375" y="1125"/>
                    <a:pt x="3375" y="1125"/>
                  </a:cubicBezTo>
                  <a:cubicBezTo>
                    <a:pt x="3409" y="1125"/>
                    <a:pt x="3409" y="1125"/>
                    <a:pt x="3409" y="1125"/>
                  </a:cubicBezTo>
                  <a:cubicBezTo>
                    <a:pt x="3682" y="1120"/>
                    <a:pt x="3682" y="1120"/>
                    <a:pt x="3682" y="1120"/>
                  </a:cubicBezTo>
                  <a:cubicBezTo>
                    <a:pt x="3728" y="1119"/>
                    <a:pt x="3774" y="1120"/>
                    <a:pt x="3819" y="1123"/>
                  </a:cubicBezTo>
                  <a:cubicBezTo>
                    <a:pt x="3865" y="1125"/>
                    <a:pt x="3911" y="1129"/>
                    <a:pt x="3956" y="1134"/>
                  </a:cubicBezTo>
                  <a:cubicBezTo>
                    <a:pt x="4047" y="1144"/>
                    <a:pt x="4137" y="1160"/>
                    <a:pt x="4226" y="1182"/>
                  </a:cubicBezTo>
                  <a:cubicBezTo>
                    <a:pt x="4315" y="1203"/>
                    <a:pt x="4402" y="1230"/>
                    <a:pt x="4487" y="1263"/>
                  </a:cubicBezTo>
                  <a:cubicBezTo>
                    <a:pt x="4573" y="1296"/>
                    <a:pt x="4656" y="1335"/>
                    <a:pt x="4735" y="1380"/>
                  </a:cubicBezTo>
                  <a:cubicBezTo>
                    <a:pt x="4775" y="1403"/>
                    <a:pt x="4814" y="1427"/>
                    <a:pt x="4852" y="1453"/>
                  </a:cubicBezTo>
                  <a:cubicBezTo>
                    <a:pt x="4889" y="1479"/>
                    <a:pt x="4926" y="1506"/>
                    <a:pt x="4961" y="1535"/>
                  </a:cubicBezTo>
                  <a:cubicBezTo>
                    <a:pt x="4997" y="1564"/>
                    <a:pt x="5031" y="1595"/>
                    <a:pt x="5063" y="1628"/>
                  </a:cubicBezTo>
                  <a:cubicBezTo>
                    <a:pt x="5095" y="1660"/>
                    <a:pt x="5126" y="1694"/>
                    <a:pt x="5155" y="1730"/>
                  </a:cubicBezTo>
                  <a:cubicBezTo>
                    <a:pt x="5162" y="1739"/>
                    <a:pt x="5169" y="1748"/>
                    <a:pt x="5176" y="1757"/>
                  </a:cubicBezTo>
                  <a:cubicBezTo>
                    <a:pt x="5183" y="1766"/>
                    <a:pt x="5190" y="1775"/>
                    <a:pt x="5196" y="1785"/>
                  </a:cubicBezTo>
                  <a:cubicBezTo>
                    <a:pt x="5203" y="1794"/>
                    <a:pt x="5210" y="1803"/>
                    <a:pt x="5216" y="1813"/>
                  </a:cubicBezTo>
                  <a:cubicBezTo>
                    <a:pt x="5223" y="1822"/>
                    <a:pt x="5229" y="1832"/>
                    <a:pt x="5235" y="1842"/>
                  </a:cubicBezTo>
                  <a:cubicBezTo>
                    <a:pt x="5259" y="1881"/>
                    <a:pt x="5281" y="1921"/>
                    <a:pt x="5301" y="1963"/>
                  </a:cubicBezTo>
                  <a:cubicBezTo>
                    <a:pt x="5320" y="2004"/>
                    <a:pt x="5336" y="2047"/>
                    <a:pt x="5350" y="2091"/>
                  </a:cubicBezTo>
                  <a:cubicBezTo>
                    <a:pt x="5364" y="2135"/>
                    <a:pt x="5374" y="2180"/>
                    <a:pt x="5383" y="2225"/>
                  </a:cubicBezTo>
                  <a:cubicBezTo>
                    <a:pt x="5383" y="2226"/>
                    <a:pt x="5383" y="2226"/>
                    <a:pt x="5383" y="2226"/>
                  </a:cubicBezTo>
                  <a:cubicBezTo>
                    <a:pt x="5383" y="2228"/>
                    <a:pt x="5383" y="2228"/>
                    <a:pt x="5383" y="2228"/>
                  </a:cubicBezTo>
                  <a:cubicBezTo>
                    <a:pt x="5364" y="2369"/>
                    <a:pt x="5364" y="2369"/>
                    <a:pt x="5364" y="2369"/>
                  </a:cubicBezTo>
                  <a:cubicBezTo>
                    <a:pt x="5355" y="2440"/>
                    <a:pt x="5355" y="2440"/>
                    <a:pt x="5355" y="2440"/>
                  </a:cubicBezTo>
                  <a:cubicBezTo>
                    <a:pt x="5354" y="2449"/>
                    <a:pt x="5354" y="2449"/>
                    <a:pt x="5354" y="2449"/>
                  </a:cubicBezTo>
                  <a:cubicBezTo>
                    <a:pt x="5353" y="2458"/>
                    <a:pt x="5353" y="2458"/>
                    <a:pt x="5353" y="2458"/>
                  </a:cubicBezTo>
                  <a:cubicBezTo>
                    <a:pt x="5351" y="2475"/>
                    <a:pt x="5351" y="2475"/>
                    <a:pt x="5351" y="2475"/>
                  </a:cubicBezTo>
                  <a:cubicBezTo>
                    <a:pt x="5347" y="2511"/>
                    <a:pt x="5347" y="2511"/>
                    <a:pt x="5347" y="2511"/>
                  </a:cubicBezTo>
                  <a:cubicBezTo>
                    <a:pt x="5347" y="2512"/>
                    <a:pt x="5347" y="2512"/>
                    <a:pt x="5347" y="2512"/>
                  </a:cubicBezTo>
                  <a:cubicBezTo>
                    <a:pt x="5347" y="2512"/>
                    <a:pt x="5347" y="2512"/>
                    <a:pt x="5347" y="2512"/>
                  </a:cubicBezTo>
                  <a:cubicBezTo>
                    <a:pt x="5343" y="2526"/>
                    <a:pt x="5343" y="2540"/>
                    <a:pt x="5343" y="2555"/>
                  </a:cubicBezTo>
                  <a:cubicBezTo>
                    <a:pt x="5343" y="2562"/>
                    <a:pt x="5343" y="2569"/>
                    <a:pt x="5344" y="2577"/>
                  </a:cubicBezTo>
                  <a:cubicBezTo>
                    <a:pt x="5344" y="2581"/>
                    <a:pt x="5344" y="2585"/>
                    <a:pt x="5344" y="2589"/>
                  </a:cubicBezTo>
                  <a:cubicBezTo>
                    <a:pt x="5344" y="2591"/>
                    <a:pt x="5344" y="2593"/>
                    <a:pt x="5344" y="2595"/>
                  </a:cubicBezTo>
                  <a:cubicBezTo>
                    <a:pt x="5344" y="2597"/>
                    <a:pt x="5344" y="2599"/>
                    <a:pt x="5344" y="2601"/>
                  </a:cubicBezTo>
                  <a:cubicBezTo>
                    <a:pt x="5344" y="2599"/>
                    <a:pt x="5344" y="2599"/>
                    <a:pt x="5344" y="2599"/>
                  </a:cubicBezTo>
                  <a:cubicBezTo>
                    <a:pt x="5345" y="2610"/>
                    <a:pt x="5345" y="2610"/>
                    <a:pt x="5345" y="2610"/>
                  </a:cubicBezTo>
                  <a:cubicBezTo>
                    <a:pt x="5345" y="2620"/>
                    <a:pt x="5345" y="2620"/>
                    <a:pt x="5345" y="2620"/>
                  </a:cubicBezTo>
                  <a:cubicBezTo>
                    <a:pt x="5346" y="2627"/>
                    <a:pt x="5347" y="2634"/>
                    <a:pt x="5348" y="2641"/>
                  </a:cubicBezTo>
                  <a:cubicBezTo>
                    <a:pt x="5350" y="2655"/>
                    <a:pt x="5352" y="2669"/>
                    <a:pt x="5355" y="2683"/>
                  </a:cubicBezTo>
                  <a:cubicBezTo>
                    <a:pt x="5360" y="2710"/>
                    <a:pt x="5367" y="2738"/>
                    <a:pt x="5373" y="2766"/>
                  </a:cubicBezTo>
                  <a:cubicBezTo>
                    <a:pt x="5376" y="2780"/>
                    <a:pt x="5379" y="2794"/>
                    <a:pt x="5382" y="2808"/>
                  </a:cubicBezTo>
                  <a:cubicBezTo>
                    <a:pt x="5383" y="2815"/>
                    <a:pt x="5384" y="2822"/>
                    <a:pt x="5386" y="2829"/>
                  </a:cubicBezTo>
                  <a:cubicBezTo>
                    <a:pt x="5387" y="2836"/>
                    <a:pt x="5388" y="2844"/>
                    <a:pt x="5388" y="2851"/>
                  </a:cubicBezTo>
                  <a:cubicBezTo>
                    <a:pt x="5389" y="2854"/>
                    <a:pt x="5389" y="2858"/>
                    <a:pt x="5389" y="2862"/>
                  </a:cubicBezTo>
                  <a:cubicBezTo>
                    <a:pt x="5390" y="2865"/>
                    <a:pt x="5390" y="2869"/>
                    <a:pt x="5390" y="2873"/>
                  </a:cubicBezTo>
                  <a:cubicBezTo>
                    <a:pt x="5391" y="2880"/>
                    <a:pt x="5391" y="2887"/>
                    <a:pt x="5391" y="2895"/>
                  </a:cubicBezTo>
                  <a:cubicBezTo>
                    <a:pt x="5390" y="2902"/>
                    <a:pt x="5390" y="2909"/>
                    <a:pt x="5389" y="2917"/>
                  </a:cubicBezTo>
                  <a:cubicBezTo>
                    <a:pt x="5388" y="2928"/>
                    <a:pt x="5388" y="2928"/>
                    <a:pt x="5388" y="2928"/>
                  </a:cubicBezTo>
                  <a:cubicBezTo>
                    <a:pt x="5386" y="2939"/>
                    <a:pt x="5386" y="2939"/>
                    <a:pt x="5386" y="2939"/>
                  </a:cubicBezTo>
                  <a:cubicBezTo>
                    <a:pt x="5384" y="2951"/>
                    <a:pt x="5384" y="2951"/>
                    <a:pt x="5384" y="2951"/>
                  </a:cubicBezTo>
                  <a:cubicBezTo>
                    <a:pt x="5372" y="2946"/>
                    <a:pt x="5372" y="2946"/>
                    <a:pt x="5372" y="2946"/>
                  </a:cubicBezTo>
                  <a:cubicBezTo>
                    <a:pt x="5342" y="2934"/>
                    <a:pt x="5342" y="2934"/>
                    <a:pt x="5342" y="2934"/>
                  </a:cubicBezTo>
                  <a:cubicBezTo>
                    <a:pt x="5350" y="2915"/>
                    <a:pt x="5350" y="2915"/>
                    <a:pt x="5350" y="2915"/>
                  </a:cubicBezTo>
                  <a:cubicBezTo>
                    <a:pt x="5380" y="2928"/>
                    <a:pt x="5380" y="2928"/>
                    <a:pt x="5380" y="2928"/>
                  </a:cubicBezTo>
                  <a:cubicBezTo>
                    <a:pt x="5366" y="2935"/>
                    <a:pt x="5366" y="2935"/>
                    <a:pt x="5366" y="2935"/>
                  </a:cubicBezTo>
                  <a:cubicBezTo>
                    <a:pt x="5368" y="2925"/>
                    <a:pt x="5368" y="2925"/>
                    <a:pt x="5368" y="2925"/>
                  </a:cubicBezTo>
                  <a:cubicBezTo>
                    <a:pt x="5370" y="2915"/>
                    <a:pt x="5370" y="2915"/>
                    <a:pt x="5370" y="2915"/>
                  </a:cubicBezTo>
                  <a:cubicBezTo>
                    <a:pt x="5370" y="2908"/>
                    <a:pt x="5371" y="2901"/>
                    <a:pt x="5371" y="2894"/>
                  </a:cubicBezTo>
                  <a:cubicBezTo>
                    <a:pt x="5371" y="2887"/>
                    <a:pt x="5371" y="2881"/>
                    <a:pt x="5370" y="2874"/>
                  </a:cubicBezTo>
                  <a:cubicBezTo>
                    <a:pt x="5370" y="2870"/>
                    <a:pt x="5370" y="2867"/>
                    <a:pt x="5370" y="2863"/>
                  </a:cubicBezTo>
                  <a:cubicBezTo>
                    <a:pt x="5369" y="2860"/>
                    <a:pt x="5369" y="2856"/>
                    <a:pt x="5369" y="2853"/>
                  </a:cubicBezTo>
                  <a:cubicBezTo>
                    <a:pt x="5368" y="2846"/>
                    <a:pt x="5367" y="2839"/>
                    <a:pt x="5366" y="2832"/>
                  </a:cubicBezTo>
                  <a:cubicBezTo>
                    <a:pt x="5365" y="2825"/>
                    <a:pt x="5364" y="2818"/>
                    <a:pt x="5363" y="2812"/>
                  </a:cubicBezTo>
                  <a:cubicBezTo>
                    <a:pt x="5360" y="2798"/>
                    <a:pt x="5357" y="2784"/>
                    <a:pt x="5354" y="2770"/>
                  </a:cubicBezTo>
                  <a:cubicBezTo>
                    <a:pt x="5348" y="2742"/>
                    <a:pt x="5342" y="2715"/>
                    <a:pt x="5336" y="2686"/>
                  </a:cubicBezTo>
                  <a:cubicBezTo>
                    <a:pt x="5333" y="2672"/>
                    <a:pt x="5331" y="2658"/>
                    <a:pt x="5329" y="2644"/>
                  </a:cubicBezTo>
                  <a:cubicBezTo>
                    <a:pt x="5328" y="2637"/>
                    <a:pt x="5327" y="2629"/>
                    <a:pt x="5326" y="2622"/>
                  </a:cubicBezTo>
                  <a:cubicBezTo>
                    <a:pt x="5325" y="2611"/>
                    <a:pt x="5325" y="2611"/>
                    <a:pt x="5325" y="2611"/>
                  </a:cubicBezTo>
                  <a:cubicBezTo>
                    <a:pt x="5325" y="2601"/>
                    <a:pt x="5325" y="2601"/>
                    <a:pt x="5325" y="2601"/>
                  </a:cubicBezTo>
                  <a:cubicBezTo>
                    <a:pt x="5325" y="2600"/>
                    <a:pt x="5325" y="2600"/>
                    <a:pt x="5325" y="2600"/>
                  </a:cubicBezTo>
                  <a:cubicBezTo>
                    <a:pt x="5325" y="2599"/>
                    <a:pt x="5325" y="2599"/>
                    <a:pt x="5325" y="2599"/>
                  </a:cubicBezTo>
                  <a:cubicBezTo>
                    <a:pt x="5325" y="2597"/>
                    <a:pt x="5325" y="2596"/>
                    <a:pt x="5325" y="2594"/>
                  </a:cubicBezTo>
                  <a:cubicBezTo>
                    <a:pt x="5325" y="2592"/>
                    <a:pt x="5325" y="2591"/>
                    <a:pt x="5325" y="2589"/>
                  </a:cubicBezTo>
                  <a:cubicBezTo>
                    <a:pt x="5325" y="2585"/>
                    <a:pt x="5325" y="2582"/>
                    <a:pt x="5325" y="2578"/>
                  </a:cubicBezTo>
                  <a:cubicBezTo>
                    <a:pt x="5324" y="2570"/>
                    <a:pt x="5324" y="2563"/>
                    <a:pt x="5324" y="2555"/>
                  </a:cubicBezTo>
                  <a:cubicBezTo>
                    <a:pt x="5324" y="2540"/>
                    <a:pt x="5324" y="2524"/>
                    <a:pt x="5328" y="2508"/>
                  </a:cubicBezTo>
                  <a:cubicBezTo>
                    <a:pt x="5328" y="2509"/>
                    <a:pt x="5328" y="2509"/>
                    <a:pt x="5328" y="2509"/>
                  </a:cubicBezTo>
                  <a:cubicBezTo>
                    <a:pt x="5332" y="2473"/>
                    <a:pt x="5332" y="2473"/>
                    <a:pt x="5332" y="2473"/>
                  </a:cubicBezTo>
                  <a:cubicBezTo>
                    <a:pt x="5334" y="2456"/>
                    <a:pt x="5334" y="2456"/>
                    <a:pt x="5334" y="2456"/>
                  </a:cubicBezTo>
                  <a:cubicBezTo>
                    <a:pt x="5335" y="2447"/>
                    <a:pt x="5335" y="2447"/>
                    <a:pt x="5335" y="2447"/>
                  </a:cubicBezTo>
                  <a:cubicBezTo>
                    <a:pt x="5336" y="2438"/>
                    <a:pt x="5336" y="2438"/>
                    <a:pt x="5336" y="2438"/>
                  </a:cubicBezTo>
                  <a:cubicBezTo>
                    <a:pt x="5346" y="2367"/>
                    <a:pt x="5346" y="2367"/>
                    <a:pt x="5346" y="2367"/>
                  </a:cubicBezTo>
                  <a:cubicBezTo>
                    <a:pt x="5365" y="2225"/>
                    <a:pt x="5365" y="2225"/>
                    <a:pt x="5365" y="2225"/>
                  </a:cubicBezTo>
                  <a:cubicBezTo>
                    <a:pt x="5365" y="2228"/>
                    <a:pt x="5365" y="2228"/>
                    <a:pt x="5365" y="2228"/>
                  </a:cubicBezTo>
                  <a:cubicBezTo>
                    <a:pt x="5356" y="2184"/>
                    <a:pt x="5346" y="2139"/>
                    <a:pt x="5333" y="2096"/>
                  </a:cubicBezTo>
                  <a:cubicBezTo>
                    <a:pt x="5320" y="2053"/>
                    <a:pt x="5304" y="2011"/>
                    <a:pt x="5285" y="1970"/>
                  </a:cubicBezTo>
                  <a:cubicBezTo>
                    <a:pt x="5266" y="1929"/>
                    <a:pt x="5244" y="1889"/>
                    <a:pt x="5220" y="1851"/>
                  </a:cubicBezTo>
                  <a:cubicBezTo>
                    <a:pt x="5214" y="1841"/>
                    <a:pt x="5208" y="1832"/>
                    <a:pt x="5202" y="1823"/>
                  </a:cubicBezTo>
                  <a:cubicBezTo>
                    <a:pt x="5195" y="1813"/>
                    <a:pt x="5189" y="1804"/>
                    <a:pt x="5182" y="1795"/>
                  </a:cubicBezTo>
                  <a:cubicBezTo>
                    <a:pt x="5176" y="1785"/>
                    <a:pt x="5169" y="1776"/>
                    <a:pt x="5162" y="1767"/>
                  </a:cubicBezTo>
                  <a:cubicBezTo>
                    <a:pt x="5156" y="1758"/>
                    <a:pt x="5149" y="1749"/>
                    <a:pt x="5142" y="1741"/>
                  </a:cubicBezTo>
                  <a:cubicBezTo>
                    <a:pt x="5113" y="1705"/>
                    <a:pt x="5083" y="1672"/>
                    <a:pt x="5051" y="1639"/>
                  </a:cubicBezTo>
                  <a:cubicBezTo>
                    <a:pt x="5019" y="1607"/>
                    <a:pt x="4986" y="1577"/>
                    <a:pt x="4951" y="1548"/>
                  </a:cubicBezTo>
                  <a:cubicBezTo>
                    <a:pt x="4916" y="1519"/>
                    <a:pt x="4880" y="1492"/>
                    <a:pt x="4843" y="1466"/>
                  </a:cubicBezTo>
                  <a:cubicBezTo>
                    <a:pt x="4805" y="1440"/>
                    <a:pt x="4767" y="1416"/>
                    <a:pt x="4727" y="1394"/>
                  </a:cubicBezTo>
                  <a:cubicBezTo>
                    <a:pt x="4649" y="1349"/>
                    <a:pt x="4566" y="1310"/>
                    <a:pt x="4482" y="1277"/>
                  </a:cubicBezTo>
                  <a:cubicBezTo>
                    <a:pt x="4397" y="1244"/>
                    <a:pt x="4310" y="1217"/>
                    <a:pt x="4222" y="1196"/>
                  </a:cubicBezTo>
                  <a:cubicBezTo>
                    <a:pt x="4134" y="1174"/>
                    <a:pt x="4045" y="1158"/>
                    <a:pt x="3954" y="1148"/>
                  </a:cubicBezTo>
                  <a:cubicBezTo>
                    <a:pt x="3909" y="1143"/>
                    <a:pt x="3864" y="1139"/>
                    <a:pt x="3819" y="1136"/>
                  </a:cubicBezTo>
                  <a:cubicBezTo>
                    <a:pt x="3773" y="1134"/>
                    <a:pt x="3728" y="1133"/>
                    <a:pt x="3683" y="1133"/>
                  </a:cubicBezTo>
                  <a:cubicBezTo>
                    <a:pt x="3409" y="1137"/>
                    <a:pt x="3409" y="1137"/>
                    <a:pt x="3409" y="1137"/>
                  </a:cubicBezTo>
                  <a:cubicBezTo>
                    <a:pt x="3375" y="1138"/>
                    <a:pt x="3375" y="1138"/>
                    <a:pt x="3375" y="1138"/>
                  </a:cubicBezTo>
                  <a:cubicBezTo>
                    <a:pt x="3358" y="1138"/>
                    <a:pt x="3358" y="1138"/>
                    <a:pt x="3358" y="1138"/>
                  </a:cubicBezTo>
                  <a:cubicBezTo>
                    <a:pt x="3354" y="1138"/>
                    <a:pt x="3354" y="1138"/>
                    <a:pt x="3354" y="1138"/>
                  </a:cubicBezTo>
                  <a:cubicBezTo>
                    <a:pt x="3352" y="1138"/>
                    <a:pt x="3352" y="1138"/>
                    <a:pt x="3352" y="1138"/>
                  </a:cubicBezTo>
                  <a:cubicBezTo>
                    <a:pt x="3350" y="1138"/>
                    <a:pt x="3350" y="1138"/>
                    <a:pt x="3350" y="1138"/>
                  </a:cubicBezTo>
                  <a:cubicBezTo>
                    <a:pt x="3341" y="1138"/>
                    <a:pt x="3341" y="1138"/>
                    <a:pt x="3341" y="1138"/>
                  </a:cubicBezTo>
                  <a:cubicBezTo>
                    <a:pt x="3318" y="1138"/>
                    <a:pt x="3296" y="1138"/>
                    <a:pt x="3273" y="1138"/>
                  </a:cubicBezTo>
                  <a:cubicBezTo>
                    <a:pt x="3227" y="1138"/>
                    <a:pt x="3182" y="1139"/>
                    <a:pt x="3136" y="1138"/>
                  </a:cubicBezTo>
                  <a:cubicBezTo>
                    <a:pt x="3090" y="1137"/>
                    <a:pt x="3045" y="1136"/>
                    <a:pt x="2999" y="1132"/>
                  </a:cubicBezTo>
                  <a:cubicBezTo>
                    <a:pt x="2954" y="1129"/>
                    <a:pt x="2908" y="1124"/>
                    <a:pt x="2863" y="1115"/>
                  </a:cubicBezTo>
                  <a:cubicBezTo>
                    <a:pt x="2841" y="1110"/>
                    <a:pt x="2818" y="1105"/>
                    <a:pt x="2796" y="1097"/>
                  </a:cubicBezTo>
                  <a:cubicBezTo>
                    <a:pt x="2774" y="1090"/>
                    <a:pt x="2753" y="1081"/>
                    <a:pt x="2733" y="1070"/>
                  </a:cubicBezTo>
                  <a:cubicBezTo>
                    <a:pt x="2730" y="1068"/>
                    <a:pt x="2728" y="1067"/>
                    <a:pt x="2725" y="1065"/>
                  </a:cubicBezTo>
                  <a:cubicBezTo>
                    <a:pt x="2723" y="1064"/>
                    <a:pt x="2720" y="1062"/>
                    <a:pt x="2718" y="1061"/>
                  </a:cubicBezTo>
                  <a:cubicBezTo>
                    <a:pt x="2711" y="1055"/>
                    <a:pt x="2711" y="1055"/>
                    <a:pt x="2711" y="1055"/>
                  </a:cubicBezTo>
                  <a:cubicBezTo>
                    <a:pt x="2708" y="1054"/>
                    <a:pt x="2706" y="1052"/>
                    <a:pt x="2704" y="1050"/>
                  </a:cubicBezTo>
                  <a:cubicBezTo>
                    <a:pt x="2701" y="1048"/>
                    <a:pt x="2701" y="1048"/>
                    <a:pt x="2701" y="1048"/>
                  </a:cubicBezTo>
                  <a:cubicBezTo>
                    <a:pt x="2697" y="1045"/>
                    <a:pt x="2697" y="1045"/>
                    <a:pt x="2697" y="1045"/>
                  </a:cubicBezTo>
                  <a:cubicBezTo>
                    <a:pt x="2691" y="1039"/>
                    <a:pt x="2691" y="1039"/>
                    <a:pt x="2691" y="1039"/>
                  </a:cubicBezTo>
                  <a:cubicBezTo>
                    <a:pt x="2688" y="1037"/>
                    <a:pt x="2687" y="1034"/>
                    <a:pt x="2685" y="1032"/>
                  </a:cubicBezTo>
                  <a:cubicBezTo>
                    <a:pt x="2683" y="1030"/>
                    <a:pt x="2680" y="1028"/>
                    <a:pt x="2679" y="1025"/>
                  </a:cubicBezTo>
                  <a:cubicBezTo>
                    <a:pt x="2664" y="1007"/>
                    <a:pt x="2653" y="986"/>
                    <a:pt x="2648" y="962"/>
                  </a:cubicBezTo>
                  <a:cubicBezTo>
                    <a:pt x="2643" y="939"/>
                    <a:pt x="2644" y="915"/>
                    <a:pt x="2650" y="892"/>
                  </a:cubicBezTo>
                  <a:cubicBezTo>
                    <a:pt x="2652" y="887"/>
                    <a:pt x="2654" y="881"/>
                    <a:pt x="2657" y="876"/>
                  </a:cubicBezTo>
                  <a:cubicBezTo>
                    <a:pt x="2658" y="873"/>
                    <a:pt x="2659" y="870"/>
                    <a:pt x="2660" y="867"/>
                  </a:cubicBezTo>
                  <a:cubicBezTo>
                    <a:pt x="2665" y="860"/>
                    <a:pt x="2665" y="860"/>
                    <a:pt x="2665" y="860"/>
                  </a:cubicBezTo>
                  <a:cubicBezTo>
                    <a:pt x="2671" y="850"/>
                    <a:pt x="2678" y="841"/>
                    <a:pt x="2687" y="832"/>
                  </a:cubicBezTo>
                  <a:cubicBezTo>
                    <a:pt x="2695" y="824"/>
                    <a:pt x="2704" y="816"/>
                    <a:pt x="2713" y="810"/>
                  </a:cubicBezTo>
                  <a:cubicBezTo>
                    <a:pt x="2723" y="803"/>
                    <a:pt x="2732" y="796"/>
                    <a:pt x="2742" y="791"/>
                  </a:cubicBezTo>
                  <a:cubicBezTo>
                    <a:pt x="2762" y="779"/>
                    <a:pt x="2783" y="770"/>
                    <a:pt x="2804" y="761"/>
                  </a:cubicBezTo>
                  <a:cubicBezTo>
                    <a:pt x="2847" y="743"/>
                    <a:pt x="2890" y="729"/>
                    <a:pt x="2934" y="717"/>
                  </a:cubicBezTo>
                  <a:cubicBezTo>
                    <a:pt x="2978" y="704"/>
                    <a:pt x="3023" y="693"/>
                    <a:pt x="3067" y="683"/>
                  </a:cubicBezTo>
                  <a:cubicBezTo>
                    <a:pt x="3089" y="677"/>
                    <a:pt x="3111" y="672"/>
                    <a:pt x="3133" y="667"/>
                  </a:cubicBezTo>
                  <a:cubicBezTo>
                    <a:pt x="3155" y="661"/>
                    <a:pt x="3177" y="655"/>
                    <a:pt x="3199" y="649"/>
                  </a:cubicBezTo>
                  <a:cubicBezTo>
                    <a:pt x="3242" y="635"/>
                    <a:pt x="3285" y="620"/>
                    <a:pt x="3325" y="600"/>
                  </a:cubicBezTo>
                  <a:cubicBezTo>
                    <a:pt x="3346" y="590"/>
                    <a:pt x="3365" y="578"/>
                    <a:pt x="3383" y="565"/>
                  </a:cubicBezTo>
                  <a:cubicBezTo>
                    <a:pt x="3401" y="552"/>
                    <a:pt x="3418" y="537"/>
                    <a:pt x="3433" y="520"/>
                  </a:cubicBezTo>
                  <a:cubicBezTo>
                    <a:pt x="3440" y="511"/>
                    <a:pt x="3446" y="502"/>
                    <a:pt x="3452" y="492"/>
                  </a:cubicBezTo>
                  <a:cubicBezTo>
                    <a:pt x="3453" y="490"/>
                    <a:pt x="3454" y="487"/>
                    <a:pt x="3456" y="485"/>
                  </a:cubicBezTo>
                  <a:cubicBezTo>
                    <a:pt x="3457" y="482"/>
                    <a:pt x="3458" y="480"/>
                    <a:pt x="3459" y="477"/>
                  </a:cubicBezTo>
                  <a:cubicBezTo>
                    <a:pt x="3463" y="470"/>
                    <a:pt x="3463" y="470"/>
                    <a:pt x="3463" y="470"/>
                  </a:cubicBezTo>
                  <a:cubicBezTo>
                    <a:pt x="3464" y="467"/>
                    <a:pt x="3465" y="464"/>
                    <a:pt x="3466" y="462"/>
                  </a:cubicBezTo>
                  <a:cubicBezTo>
                    <a:pt x="3473" y="441"/>
                    <a:pt x="3478" y="419"/>
                    <a:pt x="3477" y="397"/>
                  </a:cubicBezTo>
                  <a:cubicBezTo>
                    <a:pt x="3477" y="397"/>
                    <a:pt x="3477" y="397"/>
                    <a:pt x="3477" y="397"/>
                  </a:cubicBezTo>
                  <a:cubicBezTo>
                    <a:pt x="3471" y="360"/>
                    <a:pt x="3456" y="325"/>
                    <a:pt x="3433" y="295"/>
                  </a:cubicBezTo>
                  <a:cubicBezTo>
                    <a:pt x="3411" y="265"/>
                    <a:pt x="3381" y="241"/>
                    <a:pt x="3350" y="221"/>
                  </a:cubicBezTo>
                  <a:cubicBezTo>
                    <a:pt x="3318" y="201"/>
                    <a:pt x="3283" y="186"/>
                    <a:pt x="3248" y="173"/>
                  </a:cubicBezTo>
                  <a:cubicBezTo>
                    <a:pt x="3212" y="160"/>
                    <a:pt x="3176" y="149"/>
                    <a:pt x="3139" y="139"/>
                  </a:cubicBezTo>
                  <a:cubicBezTo>
                    <a:pt x="3121" y="134"/>
                    <a:pt x="3103" y="129"/>
                    <a:pt x="3084" y="125"/>
                  </a:cubicBezTo>
                  <a:cubicBezTo>
                    <a:pt x="3029" y="110"/>
                    <a:pt x="3029" y="110"/>
                    <a:pt x="3029" y="110"/>
                  </a:cubicBezTo>
                  <a:cubicBezTo>
                    <a:pt x="3022" y="108"/>
                    <a:pt x="3022" y="108"/>
                    <a:pt x="3022" y="108"/>
                  </a:cubicBezTo>
                  <a:cubicBezTo>
                    <a:pt x="3019" y="108"/>
                    <a:pt x="3019" y="108"/>
                    <a:pt x="3019" y="108"/>
                  </a:cubicBezTo>
                  <a:cubicBezTo>
                    <a:pt x="3018" y="107"/>
                    <a:pt x="3017" y="107"/>
                    <a:pt x="3016" y="107"/>
                  </a:cubicBezTo>
                  <a:cubicBezTo>
                    <a:pt x="3002" y="104"/>
                    <a:pt x="3002" y="104"/>
                    <a:pt x="3002" y="104"/>
                  </a:cubicBezTo>
                  <a:cubicBezTo>
                    <a:pt x="2992" y="102"/>
                    <a:pt x="2983" y="101"/>
                    <a:pt x="2974" y="99"/>
                  </a:cubicBezTo>
                  <a:cubicBezTo>
                    <a:pt x="2955" y="96"/>
                    <a:pt x="2936" y="92"/>
                    <a:pt x="2918" y="89"/>
                  </a:cubicBezTo>
                  <a:cubicBezTo>
                    <a:pt x="2843" y="77"/>
                    <a:pt x="2767" y="68"/>
                    <a:pt x="2692" y="59"/>
                  </a:cubicBezTo>
                  <a:cubicBezTo>
                    <a:pt x="2466" y="32"/>
                    <a:pt x="2466" y="32"/>
                    <a:pt x="2466" y="32"/>
                  </a:cubicBezTo>
                  <a:cubicBezTo>
                    <a:pt x="2391" y="23"/>
                    <a:pt x="2315" y="16"/>
                    <a:pt x="2239" y="11"/>
                  </a:cubicBezTo>
                  <a:cubicBezTo>
                    <a:pt x="2201" y="8"/>
                    <a:pt x="2164" y="6"/>
                    <a:pt x="2126" y="5"/>
                  </a:cubicBezTo>
                  <a:cubicBezTo>
                    <a:pt x="2116" y="5"/>
                    <a:pt x="2107" y="5"/>
                    <a:pt x="2097" y="5"/>
                  </a:cubicBezTo>
                  <a:cubicBezTo>
                    <a:pt x="2069" y="5"/>
                    <a:pt x="2069" y="5"/>
                    <a:pt x="2069" y="5"/>
                  </a:cubicBezTo>
                  <a:cubicBezTo>
                    <a:pt x="2040" y="5"/>
                    <a:pt x="2040" y="5"/>
                    <a:pt x="2040" y="5"/>
                  </a:cubicBezTo>
                  <a:cubicBezTo>
                    <a:pt x="2031" y="5"/>
                    <a:pt x="2021" y="5"/>
                    <a:pt x="2012" y="5"/>
                  </a:cubicBezTo>
                  <a:cubicBezTo>
                    <a:pt x="1974" y="7"/>
                    <a:pt x="1936" y="9"/>
                    <a:pt x="1899" y="14"/>
                  </a:cubicBezTo>
                  <a:cubicBezTo>
                    <a:pt x="1880" y="16"/>
                    <a:pt x="1861" y="19"/>
                    <a:pt x="1842" y="22"/>
                  </a:cubicBezTo>
                  <a:cubicBezTo>
                    <a:pt x="1833" y="23"/>
                    <a:pt x="1823" y="24"/>
                    <a:pt x="1814" y="26"/>
                  </a:cubicBezTo>
                  <a:cubicBezTo>
                    <a:pt x="1786" y="30"/>
                    <a:pt x="1786" y="30"/>
                    <a:pt x="1786" y="30"/>
                  </a:cubicBezTo>
                  <a:cubicBezTo>
                    <a:pt x="1711" y="39"/>
                    <a:pt x="1636" y="53"/>
                    <a:pt x="1562" y="68"/>
                  </a:cubicBezTo>
                  <a:cubicBezTo>
                    <a:pt x="1524" y="75"/>
                    <a:pt x="1487" y="83"/>
                    <a:pt x="1450" y="91"/>
                  </a:cubicBezTo>
                  <a:cubicBezTo>
                    <a:pt x="1413" y="99"/>
                    <a:pt x="1376" y="107"/>
                    <a:pt x="1339" y="115"/>
                  </a:cubicBezTo>
                  <a:cubicBezTo>
                    <a:pt x="1190" y="145"/>
                    <a:pt x="1039" y="167"/>
                    <a:pt x="889" y="187"/>
                  </a:cubicBezTo>
                  <a:cubicBezTo>
                    <a:pt x="814" y="197"/>
                    <a:pt x="739" y="209"/>
                    <a:pt x="664" y="223"/>
                  </a:cubicBezTo>
                  <a:cubicBezTo>
                    <a:pt x="590" y="236"/>
                    <a:pt x="515" y="252"/>
                    <a:pt x="441" y="269"/>
                  </a:cubicBezTo>
                  <a:cubicBezTo>
                    <a:pt x="293" y="303"/>
                    <a:pt x="147" y="342"/>
                    <a:pt x="0" y="38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78"/>
            <p:cNvSpPr>
              <a:spLocks/>
            </p:cNvSpPr>
            <p:nvPr/>
          </p:nvSpPr>
          <p:spPr bwMode="auto">
            <a:xfrm>
              <a:off x="-3422098" y="1358747"/>
              <a:ext cx="8113161" cy="6254872"/>
            </a:xfrm>
            <a:custGeom>
              <a:avLst/>
              <a:gdLst>
                <a:gd name="T0" fmla="*/ 3362 w 4009"/>
                <a:gd name="T1" fmla="*/ 2800 h 3089"/>
                <a:gd name="T2" fmla="*/ 3933 w 4009"/>
                <a:gd name="T3" fmla="*/ 2056 h 3089"/>
                <a:gd name="T4" fmla="*/ 3966 w 4009"/>
                <a:gd name="T5" fmla="*/ 1971 h 3089"/>
                <a:gd name="T6" fmla="*/ 3988 w 4009"/>
                <a:gd name="T7" fmla="*/ 1880 h 3089"/>
                <a:gd name="T8" fmla="*/ 3992 w 4009"/>
                <a:gd name="T9" fmla="*/ 1785 h 3089"/>
                <a:gd name="T10" fmla="*/ 3986 w 4009"/>
                <a:gd name="T11" fmla="*/ 1737 h 3089"/>
                <a:gd name="T12" fmla="*/ 3958 w 4009"/>
                <a:gd name="T13" fmla="*/ 1653 h 3089"/>
                <a:gd name="T14" fmla="*/ 3916 w 4009"/>
                <a:gd name="T15" fmla="*/ 1585 h 3089"/>
                <a:gd name="T16" fmla="*/ 3861 w 4009"/>
                <a:gd name="T17" fmla="*/ 1526 h 3089"/>
                <a:gd name="T18" fmla="*/ 3797 w 4009"/>
                <a:gd name="T19" fmla="*/ 1474 h 3089"/>
                <a:gd name="T20" fmla="*/ 3743 w 4009"/>
                <a:gd name="T21" fmla="*/ 1440 h 3089"/>
                <a:gd name="T22" fmla="*/ 3715 w 4009"/>
                <a:gd name="T23" fmla="*/ 1425 h 3089"/>
                <a:gd name="T24" fmla="*/ 3347 w 4009"/>
                <a:gd name="T25" fmla="*/ 1334 h 3089"/>
                <a:gd name="T26" fmla="*/ 2229 w 4009"/>
                <a:gd name="T27" fmla="*/ 1207 h 3089"/>
                <a:gd name="T28" fmla="*/ 1885 w 4009"/>
                <a:gd name="T29" fmla="*/ 1008 h 3089"/>
                <a:gd name="T30" fmla="*/ 1861 w 4009"/>
                <a:gd name="T31" fmla="*/ 964 h 3089"/>
                <a:gd name="T32" fmla="*/ 1847 w 4009"/>
                <a:gd name="T33" fmla="*/ 830 h 3089"/>
                <a:gd name="T34" fmla="*/ 1874 w 4009"/>
                <a:gd name="T35" fmla="*/ 760 h 3089"/>
                <a:gd name="T36" fmla="*/ 1901 w 4009"/>
                <a:gd name="T37" fmla="*/ 719 h 3089"/>
                <a:gd name="T38" fmla="*/ 1969 w 4009"/>
                <a:gd name="T39" fmla="*/ 647 h 3089"/>
                <a:gd name="T40" fmla="*/ 2113 w 4009"/>
                <a:gd name="T41" fmla="*/ 556 h 3089"/>
                <a:gd name="T42" fmla="*/ 2814 w 4009"/>
                <a:gd name="T43" fmla="*/ 281 h 3089"/>
                <a:gd name="T44" fmla="*/ 2816 w 4009"/>
                <a:gd name="T45" fmla="*/ 204 h 3089"/>
                <a:gd name="T46" fmla="*/ 2710 w 4009"/>
                <a:gd name="T47" fmla="*/ 104 h 3089"/>
                <a:gd name="T48" fmla="*/ 1878 w 4009"/>
                <a:gd name="T49" fmla="*/ 17 h 3089"/>
                <a:gd name="T50" fmla="*/ 452 w 4009"/>
                <a:gd name="T51" fmla="*/ 116 h 3089"/>
                <a:gd name="T52" fmla="*/ 81 w 4009"/>
                <a:gd name="T53" fmla="*/ 269 h 3089"/>
                <a:gd name="T54" fmla="*/ 20 w 4009"/>
                <a:gd name="T55" fmla="*/ 304 h 3089"/>
                <a:gd name="T56" fmla="*/ 362 w 4009"/>
                <a:gd name="T57" fmla="*/ 144 h 3089"/>
                <a:gd name="T58" fmla="*/ 718 w 4009"/>
                <a:gd name="T59" fmla="*/ 54 h 3089"/>
                <a:gd name="T60" fmla="*/ 2400 w 4009"/>
                <a:gd name="T61" fmla="*/ 39 h 3089"/>
                <a:gd name="T62" fmla="*/ 2817 w 4009"/>
                <a:gd name="T63" fmla="*/ 191 h 3089"/>
                <a:gd name="T64" fmla="*/ 2826 w 4009"/>
                <a:gd name="T65" fmla="*/ 213 h 3089"/>
                <a:gd name="T66" fmla="*/ 2763 w 4009"/>
                <a:gd name="T67" fmla="*/ 344 h 3089"/>
                <a:gd name="T68" fmla="*/ 2117 w 4009"/>
                <a:gd name="T69" fmla="*/ 564 h 3089"/>
                <a:gd name="T70" fmla="*/ 1975 w 4009"/>
                <a:gd name="T71" fmla="*/ 655 h 3089"/>
                <a:gd name="T72" fmla="*/ 1908 w 4009"/>
                <a:gd name="T73" fmla="*/ 724 h 3089"/>
                <a:gd name="T74" fmla="*/ 1882 w 4009"/>
                <a:gd name="T75" fmla="*/ 765 h 3089"/>
                <a:gd name="T76" fmla="*/ 1857 w 4009"/>
                <a:gd name="T77" fmla="*/ 832 h 3089"/>
                <a:gd name="T78" fmla="*/ 1871 w 4009"/>
                <a:gd name="T79" fmla="*/ 960 h 3089"/>
                <a:gd name="T80" fmla="*/ 1894 w 4009"/>
                <a:gd name="T81" fmla="*/ 1002 h 3089"/>
                <a:gd name="T82" fmla="*/ 2232 w 4009"/>
                <a:gd name="T83" fmla="*/ 1196 h 3089"/>
                <a:gd name="T84" fmla="*/ 3349 w 4009"/>
                <a:gd name="T85" fmla="*/ 1320 h 3089"/>
                <a:gd name="T86" fmla="*/ 3732 w 4009"/>
                <a:gd name="T87" fmla="*/ 1417 h 3089"/>
                <a:gd name="T88" fmla="*/ 3769 w 4009"/>
                <a:gd name="T89" fmla="*/ 1438 h 3089"/>
                <a:gd name="T90" fmla="*/ 3822 w 4009"/>
                <a:gd name="T91" fmla="*/ 1474 h 3089"/>
                <a:gd name="T92" fmla="*/ 3887 w 4009"/>
                <a:gd name="T93" fmla="*/ 1529 h 3089"/>
                <a:gd name="T94" fmla="*/ 3941 w 4009"/>
                <a:gd name="T95" fmla="*/ 1593 h 3089"/>
                <a:gd name="T96" fmla="*/ 3981 w 4009"/>
                <a:gd name="T97" fmla="*/ 1665 h 3089"/>
                <a:gd name="T98" fmla="*/ 4004 w 4009"/>
                <a:gd name="T99" fmla="*/ 1743 h 3089"/>
                <a:gd name="T100" fmla="*/ 4009 w 4009"/>
                <a:gd name="T101" fmla="*/ 1803 h 3089"/>
                <a:gd name="T102" fmla="*/ 4001 w 4009"/>
                <a:gd name="T103" fmla="*/ 1901 h 3089"/>
                <a:gd name="T104" fmla="*/ 3979 w 4009"/>
                <a:gd name="T105" fmla="*/ 1985 h 3089"/>
                <a:gd name="T106" fmla="*/ 3881 w 4009"/>
                <a:gd name="T107" fmla="*/ 2191 h 3089"/>
                <a:gd name="T108" fmla="*/ 3276 w 4009"/>
                <a:gd name="T109" fmla="*/ 2926 h 3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09" h="3089">
                  <a:moveTo>
                    <a:pt x="3136" y="3079"/>
                  </a:moveTo>
                  <a:cubicBezTo>
                    <a:pt x="3136" y="3079"/>
                    <a:pt x="3140" y="3072"/>
                    <a:pt x="3148" y="3058"/>
                  </a:cubicBezTo>
                  <a:cubicBezTo>
                    <a:pt x="3157" y="3045"/>
                    <a:pt x="3171" y="3026"/>
                    <a:pt x="3190" y="3001"/>
                  </a:cubicBezTo>
                  <a:cubicBezTo>
                    <a:pt x="3208" y="2977"/>
                    <a:pt x="3232" y="2948"/>
                    <a:pt x="3261" y="2914"/>
                  </a:cubicBezTo>
                  <a:cubicBezTo>
                    <a:pt x="3290" y="2880"/>
                    <a:pt x="3324" y="2842"/>
                    <a:pt x="3362" y="2800"/>
                  </a:cubicBezTo>
                  <a:cubicBezTo>
                    <a:pt x="3400" y="2758"/>
                    <a:pt x="3443" y="2711"/>
                    <a:pt x="3489" y="2660"/>
                  </a:cubicBezTo>
                  <a:cubicBezTo>
                    <a:pt x="3535" y="2609"/>
                    <a:pt x="3584" y="2554"/>
                    <a:pt x="3635" y="2493"/>
                  </a:cubicBezTo>
                  <a:cubicBezTo>
                    <a:pt x="3686" y="2433"/>
                    <a:pt x="3739" y="2367"/>
                    <a:pt x="3791" y="2295"/>
                  </a:cubicBezTo>
                  <a:cubicBezTo>
                    <a:pt x="3816" y="2259"/>
                    <a:pt x="3842" y="2221"/>
                    <a:pt x="3866" y="2182"/>
                  </a:cubicBezTo>
                  <a:cubicBezTo>
                    <a:pt x="3890" y="2142"/>
                    <a:pt x="3913" y="2100"/>
                    <a:pt x="3933" y="2056"/>
                  </a:cubicBezTo>
                  <a:cubicBezTo>
                    <a:pt x="3937" y="2045"/>
                    <a:pt x="3942" y="2034"/>
                    <a:pt x="3947" y="2023"/>
                  </a:cubicBezTo>
                  <a:cubicBezTo>
                    <a:pt x="3949" y="2017"/>
                    <a:pt x="3951" y="2011"/>
                    <a:pt x="3954" y="2006"/>
                  </a:cubicBezTo>
                  <a:cubicBezTo>
                    <a:pt x="3956" y="2000"/>
                    <a:pt x="3958" y="1994"/>
                    <a:pt x="3960" y="1988"/>
                  </a:cubicBezTo>
                  <a:cubicBezTo>
                    <a:pt x="3963" y="1979"/>
                    <a:pt x="3963" y="1979"/>
                    <a:pt x="3963" y="1979"/>
                  </a:cubicBezTo>
                  <a:cubicBezTo>
                    <a:pt x="3966" y="1971"/>
                    <a:pt x="3966" y="1971"/>
                    <a:pt x="3966" y="1971"/>
                  </a:cubicBezTo>
                  <a:cubicBezTo>
                    <a:pt x="3968" y="1965"/>
                    <a:pt x="3969" y="1959"/>
                    <a:pt x="3971" y="1953"/>
                  </a:cubicBezTo>
                  <a:cubicBezTo>
                    <a:pt x="3973" y="1947"/>
                    <a:pt x="3974" y="1941"/>
                    <a:pt x="3976" y="1935"/>
                  </a:cubicBezTo>
                  <a:cubicBezTo>
                    <a:pt x="3978" y="1929"/>
                    <a:pt x="3979" y="1923"/>
                    <a:pt x="3981" y="1917"/>
                  </a:cubicBezTo>
                  <a:cubicBezTo>
                    <a:pt x="3982" y="1911"/>
                    <a:pt x="3983" y="1904"/>
                    <a:pt x="3984" y="1898"/>
                  </a:cubicBezTo>
                  <a:cubicBezTo>
                    <a:pt x="3986" y="1892"/>
                    <a:pt x="3987" y="1886"/>
                    <a:pt x="3988" y="1880"/>
                  </a:cubicBezTo>
                  <a:cubicBezTo>
                    <a:pt x="3990" y="1867"/>
                    <a:pt x="3991" y="1855"/>
                    <a:pt x="3992" y="1842"/>
                  </a:cubicBezTo>
                  <a:cubicBezTo>
                    <a:pt x="3992" y="1836"/>
                    <a:pt x="3993" y="1829"/>
                    <a:pt x="3993" y="1823"/>
                  </a:cubicBezTo>
                  <a:cubicBezTo>
                    <a:pt x="3993" y="1813"/>
                    <a:pt x="3993" y="1813"/>
                    <a:pt x="3993" y="1813"/>
                  </a:cubicBezTo>
                  <a:cubicBezTo>
                    <a:pt x="3993" y="1804"/>
                    <a:pt x="3993" y="1804"/>
                    <a:pt x="3993" y="1804"/>
                  </a:cubicBezTo>
                  <a:cubicBezTo>
                    <a:pt x="3993" y="1797"/>
                    <a:pt x="3993" y="1791"/>
                    <a:pt x="3992" y="1785"/>
                  </a:cubicBezTo>
                  <a:cubicBezTo>
                    <a:pt x="3992" y="1778"/>
                    <a:pt x="3991" y="1772"/>
                    <a:pt x="3991" y="1765"/>
                  </a:cubicBezTo>
                  <a:cubicBezTo>
                    <a:pt x="3990" y="1761"/>
                    <a:pt x="3990" y="1761"/>
                    <a:pt x="3990" y="1761"/>
                  </a:cubicBezTo>
                  <a:cubicBezTo>
                    <a:pt x="3989" y="1756"/>
                    <a:pt x="3989" y="1756"/>
                    <a:pt x="3989" y="1756"/>
                  </a:cubicBezTo>
                  <a:cubicBezTo>
                    <a:pt x="3988" y="1746"/>
                    <a:pt x="3988" y="1746"/>
                    <a:pt x="3988" y="1746"/>
                  </a:cubicBezTo>
                  <a:cubicBezTo>
                    <a:pt x="3986" y="1737"/>
                    <a:pt x="3986" y="1737"/>
                    <a:pt x="3986" y="1737"/>
                  </a:cubicBezTo>
                  <a:cubicBezTo>
                    <a:pt x="3986" y="1733"/>
                    <a:pt x="3985" y="1730"/>
                    <a:pt x="3984" y="1727"/>
                  </a:cubicBezTo>
                  <a:cubicBezTo>
                    <a:pt x="3982" y="1721"/>
                    <a:pt x="3981" y="1715"/>
                    <a:pt x="3979" y="1708"/>
                  </a:cubicBezTo>
                  <a:cubicBezTo>
                    <a:pt x="3977" y="1702"/>
                    <a:pt x="3975" y="1696"/>
                    <a:pt x="3973" y="1690"/>
                  </a:cubicBezTo>
                  <a:cubicBezTo>
                    <a:pt x="3971" y="1683"/>
                    <a:pt x="3969" y="1677"/>
                    <a:pt x="3966" y="1671"/>
                  </a:cubicBezTo>
                  <a:cubicBezTo>
                    <a:pt x="3964" y="1665"/>
                    <a:pt x="3961" y="1659"/>
                    <a:pt x="3958" y="1653"/>
                  </a:cubicBezTo>
                  <a:cubicBezTo>
                    <a:pt x="3955" y="1647"/>
                    <a:pt x="3952" y="1641"/>
                    <a:pt x="3949" y="1636"/>
                  </a:cubicBezTo>
                  <a:cubicBezTo>
                    <a:pt x="3946" y="1630"/>
                    <a:pt x="3942" y="1624"/>
                    <a:pt x="3939" y="1618"/>
                  </a:cubicBezTo>
                  <a:cubicBezTo>
                    <a:pt x="3937" y="1616"/>
                    <a:pt x="3936" y="1613"/>
                    <a:pt x="3934" y="1610"/>
                  </a:cubicBezTo>
                  <a:cubicBezTo>
                    <a:pt x="3928" y="1602"/>
                    <a:pt x="3928" y="1602"/>
                    <a:pt x="3928" y="1602"/>
                  </a:cubicBezTo>
                  <a:cubicBezTo>
                    <a:pt x="3924" y="1596"/>
                    <a:pt x="3921" y="1591"/>
                    <a:pt x="3916" y="1585"/>
                  </a:cubicBezTo>
                  <a:cubicBezTo>
                    <a:pt x="3912" y="1580"/>
                    <a:pt x="3908" y="1575"/>
                    <a:pt x="3904" y="1570"/>
                  </a:cubicBezTo>
                  <a:cubicBezTo>
                    <a:pt x="3901" y="1567"/>
                    <a:pt x="3899" y="1564"/>
                    <a:pt x="3897" y="1562"/>
                  </a:cubicBezTo>
                  <a:cubicBezTo>
                    <a:pt x="3890" y="1555"/>
                    <a:pt x="3890" y="1555"/>
                    <a:pt x="3890" y="1555"/>
                  </a:cubicBezTo>
                  <a:cubicBezTo>
                    <a:pt x="3885" y="1550"/>
                    <a:pt x="3881" y="1545"/>
                    <a:pt x="3876" y="1540"/>
                  </a:cubicBezTo>
                  <a:cubicBezTo>
                    <a:pt x="3871" y="1535"/>
                    <a:pt x="3866" y="1530"/>
                    <a:pt x="3861" y="1526"/>
                  </a:cubicBezTo>
                  <a:cubicBezTo>
                    <a:pt x="3854" y="1519"/>
                    <a:pt x="3854" y="1519"/>
                    <a:pt x="3854" y="1519"/>
                  </a:cubicBezTo>
                  <a:cubicBezTo>
                    <a:pt x="3851" y="1516"/>
                    <a:pt x="3848" y="1514"/>
                    <a:pt x="3846" y="1512"/>
                  </a:cubicBezTo>
                  <a:cubicBezTo>
                    <a:pt x="3841" y="1508"/>
                    <a:pt x="3835" y="1503"/>
                    <a:pt x="3830" y="1499"/>
                  </a:cubicBezTo>
                  <a:cubicBezTo>
                    <a:pt x="3825" y="1494"/>
                    <a:pt x="3819" y="1491"/>
                    <a:pt x="3813" y="1486"/>
                  </a:cubicBezTo>
                  <a:cubicBezTo>
                    <a:pt x="3808" y="1482"/>
                    <a:pt x="3802" y="1478"/>
                    <a:pt x="3797" y="1474"/>
                  </a:cubicBezTo>
                  <a:cubicBezTo>
                    <a:pt x="3791" y="1470"/>
                    <a:pt x="3785" y="1466"/>
                    <a:pt x="3779" y="1463"/>
                  </a:cubicBezTo>
                  <a:cubicBezTo>
                    <a:pt x="3770" y="1457"/>
                    <a:pt x="3770" y="1457"/>
                    <a:pt x="3770" y="1457"/>
                  </a:cubicBezTo>
                  <a:cubicBezTo>
                    <a:pt x="3766" y="1454"/>
                    <a:pt x="3766" y="1454"/>
                    <a:pt x="3766" y="1454"/>
                  </a:cubicBezTo>
                  <a:cubicBezTo>
                    <a:pt x="3761" y="1451"/>
                    <a:pt x="3761" y="1451"/>
                    <a:pt x="3761" y="1451"/>
                  </a:cubicBezTo>
                  <a:cubicBezTo>
                    <a:pt x="3755" y="1448"/>
                    <a:pt x="3749" y="1444"/>
                    <a:pt x="3743" y="1440"/>
                  </a:cubicBezTo>
                  <a:cubicBezTo>
                    <a:pt x="3734" y="1435"/>
                    <a:pt x="3734" y="1435"/>
                    <a:pt x="3734" y="1435"/>
                  </a:cubicBezTo>
                  <a:cubicBezTo>
                    <a:pt x="3732" y="1434"/>
                    <a:pt x="3732" y="1434"/>
                    <a:pt x="3732" y="1434"/>
                  </a:cubicBezTo>
                  <a:cubicBezTo>
                    <a:pt x="3730" y="1432"/>
                    <a:pt x="3730" y="1432"/>
                    <a:pt x="3730" y="1432"/>
                  </a:cubicBezTo>
                  <a:cubicBezTo>
                    <a:pt x="3725" y="1430"/>
                    <a:pt x="3725" y="1430"/>
                    <a:pt x="3725" y="1430"/>
                  </a:cubicBezTo>
                  <a:cubicBezTo>
                    <a:pt x="3715" y="1425"/>
                    <a:pt x="3715" y="1425"/>
                    <a:pt x="3715" y="1425"/>
                  </a:cubicBezTo>
                  <a:cubicBezTo>
                    <a:pt x="3706" y="1420"/>
                    <a:pt x="3706" y="1420"/>
                    <a:pt x="3706" y="1420"/>
                  </a:cubicBezTo>
                  <a:cubicBezTo>
                    <a:pt x="3700" y="1417"/>
                    <a:pt x="3693" y="1414"/>
                    <a:pt x="3687" y="1411"/>
                  </a:cubicBezTo>
                  <a:cubicBezTo>
                    <a:pt x="3635" y="1388"/>
                    <a:pt x="3579" y="1372"/>
                    <a:pt x="3522" y="1360"/>
                  </a:cubicBezTo>
                  <a:cubicBezTo>
                    <a:pt x="3494" y="1354"/>
                    <a:pt x="3465" y="1349"/>
                    <a:pt x="3436" y="1345"/>
                  </a:cubicBezTo>
                  <a:cubicBezTo>
                    <a:pt x="3406" y="1340"/>
                    <a:pt x="3377" y="1337"/>
                    <a:pt x="3347" y="1334"/>
                  </a:cubicBezTo>
                  <a:cubicBezTo>
                    <a:pt x="3288" y="1328"/>
                    <a:pt x="3227" y="1323"/>
                    <a:pt x="3167" y="1319"/>
                  </a:cubicBezTo>
                  <a:cubicBezTo>
                    <a:pt x="3045" y="1312"/>
                    <a:pt x="2921" y="1307"/>
                    <a:pt x="2795" y="1298"/>
                  </a:cubicBezTo>
                  <a:cubicBezTo>
                    <a:pt x="2733" y="1293"/>
                    <a:pt x="2670" y="1288"/>
                    <a:pt x="2607" y="1279"/>
                  </a:cubicBezTo>
                  <a:cubicBezTo>
                    <a:pt x="2544" y="1271"/>
                    <a:pt x="2480" y="1262"/>
                    <a:pt x="2417" y="1250"/>
                  </a:cubicBezTo>
                  <a:cubicBezTo>
                    <a:pt x="2354" y="1239"/>
                    <a:pt x="2291" y="1225"/>
                    <a:pt x="2229" y="1207"/>
                  </a:cubicBezTo>
                  <a:cubicBezTo>
                    <a:pt x="2197" y="1198"/>
                    <a:pt x="2167" y="1188"/>
                    <a:pt x="2136" y="1177"/>
                  </a:cubicBezTo>
                  <a:cubicBezTo>
                    <a:pt x="2106" y="1165"/>
                    <a:pt x="2076" y="1153"/>
                    <a:pt x="2046" y="1138"/>
                  </a:cubicBezTo>
                  <a:cubicBezTo>
                    <a:pt x="2017" y="1123"/>
                    <a:pt x="1989" y="1106"/>
                    <a:pt x="1963" y="1087"/>
                  </a:cubicBezTo>
                  <a:cubicBezTo>
                    <a:pt x="1937" y="1067"/>
                    <a:pt x="1912" y="1044"/>
                    <a:pt x="1892" y="1018"/>
                  </a:cubicBezTo>
                  <a:cubicBezTo>
                    <a:pt x="1885" y="1008"/>
                    <a:pt x="1885" y="1008"/>
                    <a:pt x="1885" y="1008"/>
                  </a:cubicBezTo>
                  <a:cubicBezTo>
                    <a:pt x="1883" y="1004"/>
                    <a:pt x="1880" y="1001"/>
                    <a:pt x="1878" y="997"/>
                  </a:cubicBezTo>
                  <a:cubicBezTo>
                    <a:pt x="1872" y="986"/>
                    <a:pt x="1872" y="986"/>
                    <a:pt x="1872" y="986"/>
                  </a:cubicBezTo>
                  <a:cubicBezTo>
                    <a:pt x="1871" y="985"/>
                    <a:pt x="1870" y="983"/>
                    <a:pt x="1869" y="981"/>
                  </a:cubicBezTo>
                  <a:cubicBezTo>
                    <a:pt x="1866" y="975"/>
                    <a:pt x="1866" y="975"/>
                    <a:pt x="1866" y="975"/>
                  </a:cubicBezTo>
                  <a:cubicBezTo>
                    <a:pt x="1861" y="964"/>
                    <a:pt x="1861" y="964"/>
                    <a:pt x="1861" y="964"/>
                  </a:cubicBezTo>
                  <a:cubicBezTo>
                    <a:pt x="1860" y="962"/>
                    <a:pt x="1859" y="960"/>
                    <a:pt x="1859" y="958"/>
                  </a:cubicBezTo>
                  <a:cubicBezTo>
                    <a:pt x="1857" y="952"/>
                    <a:pt x="1857" y="952"/>
                    <a:pt x="1857" y="952"/>
                  </a:cubicBezTo>
                  <a:cubicBezTo>
                    <a:pt x="1852" y="941"/>
                    <a:pt x="1852" y="941"/>
                    <a:pt x="1852" y="941"/>
                  </a:cubicBezTo>
                  <a:cubicBezTo>
                    <a:pt x="1851" y="937"/>
                    <a:pt x="1850" y="933"/>
                    <a:pt x="1849" y="929"/>
                  </a:cubicBezTo>
                  <a:cubicBezTo>
                    <a:pt x="1841" y="897"/>
                    <a:pt x="1840" y="862"/>
                    <a:pt x="1847" y="830"/>
                  </a:cubicBezTo>
                  <a:cubicBezTo>
                    <a:pt x="1848" y="825"/>
                    <a:pt x="1849" y="822"/>
                    <a:pt x="1851" y="818"/>
                  </a:cubicBezTo>
                  <a:cubicBezTo>
                    <a:pt x="1852" y="814"/>
                    <a:pt x="1853" y="810"/>
                    <a:pt x="1854" y="806"/>
                  </a:cubicBezTo>
                  <a:cubicBezTo>
                    <a:pt x="1858" y="794"/>
                    <a:pt x="1858" y="794"/>
                    <a:pt x="1858" y="794"/>
                  </a:cubicBezTo>
                  <a:cubicBezTo>
                    <a:pt x="1860" y="790"/>
                    <a:pt x="1861" y="786"/>
                    <a:pt x="1863" y="783"/>
                  </a:cubicBezTo>
                  <a:cubicBezTo>
                    <a:pt x="1866" y="775"/>
                    <a:pt x="1870" y="768"/>
                    <a:pt x="1874" y="760"/>
                  </a:cubicBezTo>
                  <a:cubicBezTo>
                    <a:pt x="1876" y="757"/>
                    <a:pt x="1878" y="753"/>
                    <a:pt x="1880" y="749"/>
                  </a:cubicBezTo>
                  <a:cubicBezTo>
                    <a:pt x="1883" y="744"/>
                    <a:pt x="1883" y="744"/>
                    <a:pt x="1883" y="744"/>
                  </a:cubicBezTo>
                  <a:cubicBezTo>
                    <a:pt x="1884" y="742"/>
                    <a:pt x="1885" y="741"/>
                    <a:pt x="1886" y="739"/>
                  </a:cubicBezTo>
                  <a:cubicBezTo>
                    <a:pt x="1893" y="729"/>
                    <a:pt x="1893" y="729"/>
                    <a:pt x="1893" y="729"/>
                  </a:cubicBezTo>
                  <a:cubicBezTo>
                    <a:pt x="1901" y="719"/>
                    <a:pt x="1901" y="719"/>
                    <a:pt x="1901" y="719"/>
                  </a:cubicBezTo>
                  <a:cubicBezTo>
                    <a:pt x="1904" y="714"/>
                    <a:pt x="1904" y="714"/>
                    <a:pt x="1904" y="714"/>
                  </a:cubicBezTo>
                  <a:cubicBezTo>
                    <a:pt x="1908" y="709"/>
                    <a:pt x="1908" y="709"/>
                    <a:pt x="1908" y="709"/>
                  </a:cubicBezTo>
                  <a:cubicBezTo>
                    <a:pt x="1916" y="699"/>
                    <a:pt x="1916" y="699"/>
                    <a:pt x="1916" y="699"/>
                  </a:cubicBezTo>
                  <a:cubicBezTo>
                    <a:pt x="1927" y="687"/>
                    <a:pt x="1938" y="675"/>
                    <a:pt x="1950" y="664"/>
                  </a:cubicBezTo>
                  <a:cubicBezTo>
                    <a:pt x="1956" y="658"/>
                    <a:pt x="1962" y="653"/>
                    <a:pt x="1969" y="647"/>
                  </a:cubicBezTo>
                  <a:cubicBezTo>
                    <a:pt x="1975" y="642"/>
                    <a:pt x="1981" y="637"/>
                    <a:pt x="1988" y="632"/>
                  </a:cubicBezTo>
                  <a:cubicBezTo>
                    <a:pt x="2001" y="622"/>
                    <a:pt x="2014" y="613"/>
                    <a:pt x="2028" y="604"/>
                  </a:cubicBezTo>
                  <a:cubicBezTo>
                    <a:pt x="2048" y="591"/>
                    <a:pt x="2048" y="591"/>
                    <a:pt x="2048" y="591"/>
                  </a:cubicBezTo>
                  <a:cubicBezTo>
                    <a:pt x="2070" y="578"/>
                    <a:pt x="2070" y="578"/>
                    <a:pt x="2070" y="578"/>
                  </a:cubicBezTo>
                  <a:cubicBezTo>
                    <a:pt x="2084" y="571"/>
                    <a:pt x="2098" y="563"/>
                    <a:pt x="2113" y="556"/>
                  </a:cubicBezTo>
                  <a:cubicBezTo>
                    <a:pt x="2172" y="527"/>
                    <a:pt x="2233" y="505"/>
                    <a:pt x="2295" y="487"/>
                  </a:cubicBezTo>
                  <a:cubicBezTo>
                    <a:pt x="2357" y="468"/>
                    <a:pt x="2419" y="452"/>
                    <a:pt x="2482" y="438"/>
                  </a:cubicBezTo>
                  <a:cubicBezTo>
                    <a:pt x="2544" y="424"/>
                    <a:pt x="2607" y="411"/>
                    <a:pt x="2666" y="388"/>
                  </a:cubicBezTo>
                  <a:cubicBezTo>
                    <a:pt x="2695" y="377"/>
                    <a:pt x="2723" y="363"/>
                    <a:pt x="2749" y="345"/>
                  </a:cubicBezTo>
                  <a:cubicBezTo>
                    <a:pt x="2775" y="327"/>
                    <a:pt x="2801" y="308"/>
                    <a:pt x="2814" y="281"/>
                  </a:cubicBezTo>
                  <a:cubicBezTo>
                    <a:pt x="2821" y="267"/>
                    <a:pt x="2825" y="252"/>
                    <a:pt x="2824" y="237"/>
                  </a:cubicBezTo>
                  <a:cubicBezTo>
                    <a:pt x="2823" y="230"/>
                    <a:pt x="2822" y="222"/>
                    <a:pt x="2820" y="215"/>
                  </a:cubicBezTo>
                  <a:cubicBezTo>
                    <a:pt x="2819" y="212"/>
                    <a:pt x="2819" y="212"/>
                    <a:pt x="2819" y="212"/>
                  </a:cubicBezTo>
                  <a:cubicBezTo>
                    <a:pt x="2819" y="211"/>
                    <a:pt x="2818" y="211"/>
                    <a:pt x="2818" y="210"/>
                  </a:cubicBezTo>
                  <a:cubicBezTo>
                    <a:pt x="2816" y="204"/>
                    <a:pt x="2816" y="204"/>
                    <a:pt x="2816" y="204"/>
                  </a:cubicBezTo>
                  <a:cubicBezTo>
                    <a:pt x="2813" y="199"/>
                    <a:pt x="2813" y="199"/>
                    <a:pt x="2813" y="199"/>
                  </a:cubicBezTo>
                  <a:cubicBezTo>
                    <a:pt x="2813" y="197"/>
                    <a:pt x="2812" y="196"/>
                    <a:pt x="2811" y="194"/>
                  </a:cubicBezTo>
                  <a:cubicBezTo>
                    <a:pt x="2804" y="180"/>
                    <a:pt x="2795" y="168"/>
                    <a:pt x="2785" y="156"/>
                  </a:cubicBezTo>
                  <a:cubicBezTo>
                    <a:pt x="2774" y="145"/>
                    <a:pt x="2763" y="135"/>
                    <a:pt x="2750" y="127"/>
                  </a:cubicBezTo>
                  <a:cubicBezTo>
                    <a:pt x="2738" y="118"/>
                    <a:pt x="2724" y="110"/>
                    <a:pt x="2710" y="104"/>
                  </a:cubicBezTo>
                  <a:cubicBezTo>
                    <a:pt x="2697" y="97"/>
                    <a:pt x="2682" y="92"/>
                    <a:pt x="2668" y="87"/>
                  </a:cubicBezTo>
                  <a:cubicBezTo>
                    <a:pt x="2639" y="77"/>
                    <a:pt x="2609" y="70"/>
                    <a:pt x="2579" y="65"/>
                  </a:cubicBezTo>
                  <a:cubicBezTo>
                    <a:pt x="2519" y="54"/>
                    <a:pt x="2459" y="50"/>
                    <a:pt x="2399" y="45"/>
                  </a:cubicBezTo>
                  <a:cubicBezTo>
                    <a:pt x="2340" y="40"/>
                    <a:pt x="2280" y="36"/>
                    <a:pt x="2222" y="33"/>
                  </a:cubicBezTo>
                  <a:cubicBezTo>
                    <a:pt x="2104" y="28"/>
                    <a:pt x="1990" y="22"/>
                    <a:pt x="1878" y="17"/>
                  </a:cubicBezTo>
                  <a:cubicBezTo>
                    <a:pt x="1766" y="12"/>
                    <a:pt x="1657" y="8"/>
                    <a:pt x="1552" y="6"/>
                  </a:cubicBezTo>
                  <a:cubicBezTo>
                    <a:pt x="1447" y="3"/>
                    <a:pt x="1345" y="3"/>
                    <a:pt x="1248" y="6"/>
                  </a:cubicBezTo>
                  <a:cubicBezTo>
                    <a:pt x="1053" y="11"/>
                    <a:pt x="874" y="28"/>
                    <a:pt x="718" y="55"/>
                  </a:cubicBezTo>
                  <a:cubicBezTo>
                    <a:pt x="640" y="69"/>
                    <a:pt x="567" y="85"/>
                    <a:pt x="501" y="103"/>
                  </a:cubicBezTo>
                  <a:cubicBezTo>
                    <a:pt x="484" y="107"/>
                    <a:pt x="468" y="112"/>
                    <a:pt x="452" y="116"/>
                  </a:cubicBezTo>
                  <a:cubicBezTo>
                    <a:pt x="445" y="119"/>
                    <a:pt x="437" y="121"/>
                    <a:pt x="429" y="123"/>
                  </a:cubicBezTo>
                  <a:cubicBezTo>
                    <a:pt x="421" y="126"/>
                    <a:pt x="414" y="128"/>
                    <a:pt x="406" y="131"/>
                  </a:cubicBezTo>
                  <a:cubicBezTo>
                    <a:pt x="391" y="135"/>
                    <a:pt x="377" y="140"/>
                    <a:pt x="362" y="145"/>
                  </a:cubicBezTo>
                  <a:cubicBezTo>
                    <a:pt x="348" y="150"/>
                    <a:pt x="335" y="155"/>
                    <a:pt x="321" y="160"/>
                  </a:cubicBezTo>
                  <a:cubicBezTo>
                    <a:pt x="214" y="199"/>
                    <a:pt x="134" y="239"/>
                    <a:pt x="81" y="269"/>
                  </a:cubicBezTo>
                  <a:cubicBezTo>
                    <a:pt x="74" y="272"/>
                    <a:pt x="68" y="276"/>
                    <a:pt x="62" y="279"/>
                  </a:cubicBezTo>
                  <a:cubicBezTo>
                    <a:pt x="56" y="282"/>
                    <a:pt x="51" y="286"/>
                    <a:pt x="46" y="289"/>
                  </a:cubicBezTo>
                  <a:cubicBezTo>
                    <a:pt x="36" y="295"/>
                    <a:pt x="27" y="300"/>
                    <a:pt x="20" y="304"/>
                  </a:cubicBezTo>
                  <a:cubicBezTo>
                    <a:pt x="7" y="312"/>
                    <a:pt x="0" y="316"/>
                    <a:pt x="0" y="316"/>
                  </a:cubicBezTo>
                  <a:cubicBezTo>
                    <a:pt x="0" y="316"/>
                    <a:pt x="7" y="312"/>
                    <a:pt x="20" y="304"/>
                  </a:cubicBezTo>
                  <a:cubicBezTo>
                    <a:pt x="27" y="300"/>
                    <a:pt x="36" y="295"/>
                    <a:pt x="46" y="289"/>
                  </a:cubicBezTo>
                  <a:cubicBezTo>
                    <a:pt x="51" y="286"/>
                    <a:pt x="56" y="282"/>
                    <a:pt x="62" y="279"/>
                  </a:cubicBezTo>
                  <a:cubicBezTo>
                    <a:pt x="68" y="276"/>
                    <a:pt x="74" y="272"/>
                    <a:pt x="81" y="269"/>
                  </a:cubicBezTo>
                  <a:cubicBezTo>
                    <a:pt x="134" y="239"/>
                    <a:pt x="214" y="198"/>
                    <a:pt x="321" y="159"/>
                  </a:cubicBezTo>
                  <a:cubicBezTo>
                    <a:pt x="334" y="154"/>
                    <a:pt x="348" y="149"/>
                    <a:pt x="362" y="144"/>
                  </a:cubicBezTo>
                  <a:cubicBezTo>
                    <a:pt x="376" y="139"/>
                    <a:pt x="391" y="134"/>
                    <a:pt x="406" y="130"/>
                  </a:cubicBezTo>
                  <a:cubicBezTo>
                    <a:pt x="413" y="127"/>
                    <a:pt x="421" y="125"/>
                    <a:pt x="429" y="122"/>
                  </a:cubicBezTo>
                  <a:cubicBezTo>
                    <a:pt x="436" y="120"/>
                    <a:pt x="444" y="118"/>
                    <a:pt x="452" y="115"/>
                  </a:cubicBezTo>
                  <a:cubicBezTo>
                    <a:pt x="468" y="111"/>
                    <a:pt x="484" y="106"/>
                    <a:pt x="501" y="101"/>
                  </a:cubicBezTo>
                  <a:cubicBezTo>
                    <a:pt x="567" y="84"/>
                    <a:pt x="639" y="67"/>
                    <a:pt x="718" y="54"/>
                  </a:cubicBezTo>
                  <a:cubicBezTo>
                    <a:pt x="874" y="25"/>
                    <a:pt x="1053" y="9"/>
                    <a:pt x="1248" y="3"/>
                  </a:cubicBezTo>
                  <a:cubicBezTo>
                    <a:pt x="1345" y="0"/>
                    <a:pt x="1447" y="0"/>
                    <a:pt x="1552" y="2"/>
                  </a:cubicBezTo>
                  <a:cubicBezTo>
                    <a:pt x="1658" y="4"/>
                    <a:pt x="1766" y="8"/>
                    <a:pt x="1878" y="12"/>
                  </a:cubicBezTo>
                  <a:cubicBezTo>
                    <a:pt x="1990" y="18"/>
                    <a:pt x="2105" y="23"/>
                    <a:pt x="2222" y="28"/>
                  </a:cubicBezTo>
                  <a:cubicBezTo>
                    <a:pt x="2281" y="31"/>
                    <a:pt x="2340" y="34"/>
                    <a:pt x="2400" y="39"/>
                  </a:cubicBezTo>
                  <a:cubicBezTo>
                    <a:pt x="2459" y="44"/>
                    <a:pt x="2520" y="48"/>
                    <a:pt x="2580" y="59"/>
                  </a:cubicBezTo>
                  <a:cubicBezTo>
                    <a:pt x="2611" y="64"/>
                    <a:pt x="2641" y="71"/>
                    <a:pt x="2670" y="81"/>
                  </a:cubicBezTo>
                  <a:cubicBezTo>
                    <a:pt x="2685" y="86"/>
                    <a:pt x="2699" y="91"/>
                    <a:pt x="2713" y="98"/>
                  </a:cubicBezTo>
                  <a:cubicBezTo>
                    <a:pt x="2727" y="105"/>
                    <a:pt x="2741" y="112"/>
                    <a:pt x="2754" y="121"/>
                  </a:cubicBezTo>
                  <a:cubicBezTo>
                    <a:pt x="2780" y="139"/>
                    <a:pt x="2803" y="162"/>
                    <a:pt x="2817" y="191"/>
                  </a:cubicBezTo>
                  <a:cubicBezTo>
                    <a:pt x="2818" y="193"/>
                    <a:pt x="2819" y="194"/>
                    <a:pt x="2820" y="196"/>
                  </a:cubicBezTo>
                  <a:cubicBezTo>
                    <a:pt x="2822" y="202"/>
                    <a:pt x="2822" y="202"/>
                    <a:pt x="2822" y="202"/>
                  </a:cubicBezTo>
                  <a:cubicBezTo>
                    <a:pt x="2824" y="207"/>
                    <a:pt x="2824" y="207"/>
                    <a:pt x="2824" y="207"/>
                  </a:cubicBezTo>
                  <a:cubicBezTo>
                    <a:pt x="2825" y="208"/>
                    <a:pt x="2825" y="209"/>
                    <a:pt x="2826" y="210"/>
                  </a:cubicBezTo>
                  <a:cubicBezTo>
                    <a:pt x="2826" y="213"/>
                    <a:pt x="2826" y="213"/>
                    <a:pt x="2826" y="213"/>
                  </a:cubicBezTo>
                  <a:cubicBezTo>
                    <a:pt x="2829" y="220"/>
                    <a:pt x="2830" y="229"/>
                    <a:pt x="2831" y="237"/>
                  </a:cubicBezTo>
                  <a:cubicBezTo>
                    <a:pt x="2832" y="253"/>
                    <a:pt x="2828" y="269"/>
                    <a:pt x="2821" y="284"/>
                  </a:cubicBezTo>
                  <a:cubicBezTo>
                    <a:pt x="2814" y="299"/>
                    <a:pt x="2803" y="311"/>
                    <a:pt x="2791" y="322"/>
                  </a:cubicBezTo>
                  <a:cubicBezTo>
                    <a:pt x="2785" y="327"/>
                    <a:pt x="2779" y="332"/>
                    <a:pt x="2773" y="337"/>
                  </a:cubicBezTo>
                  <a:cubicBezTo>
                    <a:pt x="2770" y="340"/>
                    <a:pt x="2767" y="342"/>
                    <a:pt x="2763" y="344"/>
                  </a:cubicBezTo>
                  <a:cubicBezTo>
                    <a:pt x="2754" y="351"/>
                    <a:pt x="2754" y="351"/>
                    <a:pt x="2754" y="351"/>
                  </a:cubicBezTo>
                  <a:cubicBezTo>
                    <a:pt x="2727" y="369"/>
                    <a:pt x="2698" y="384"/>
                    <a:pt x="2669" y="395"/>
                  </a:cubicBezTo>
                  <a:cubicBezTo>
                    <a:pt x="2609" y="419"/>
                    <a:pt x="2546" y="432"/>
                    <a:pt x="2484" y="446"/>
                  </a:cubicBezTo>
                  <a:cubicBezTo>
                    <a:pt x="2421" y="460"/>
                    <a:pt x="2359" y="476"/>
                    <a:pt x="2297" y="495"/>
                  </a:cubicBezTo>
                  <a:cubicBezTo>
                    <a:pt x="2236" y="514"/>
                    <a:pt x="2175" y="536"/>
                    <a:pt x="2117" y="564"/>
                  </a:cubicBezTo>
                  <a:cubicBezTo>
                    <a:pt x="2103" y="571"/>
                    <a:pt x="2088" y="579"/>
                    <a:pt x="2074" y="586"/>
                  </a:cubicBezTo>
                  <a:cubicBezTo>
                    <a:pt x="2053" y="599"/>
                    <a:pt x="2053" y="599"/>
                    <a:pt x="2053" y="599"/>
                  </a:cubicBezTo>
                  <a:cubicBezTo>
                    <a:pt x="2033" y="612"/>
                    <a:pt x="2033" y="612"/>
                    <a:pt x="2033" y="612"/>
                  </a:cubicBezTo>
                  <a:cubicBezTo>
                    <a:pt x="2020" y="620"/>
                    <a:pt x="2006" y="630"/>
                    <a:pt x="1993" y="640"/>
                  </a:cubicBezTo>
                  <a:cubicBezTo>
                    <a:pt x="1987" y="644"/>
                    <a:pt x="1981" y="650"/>
                    <a:pt x="1975" y="655"/>
                  </a:cubicBezTo>
                  <a:cubicBezTo>
                    <a:pt x="1969" y="660"/>
                    <a:pt x="1962" y="665"/>
                    <a:pt x="1957" y="671"/>
                  </a:cubicBezTo>
                  <a:cubicBezTo>
                    <a:pt x="1945" y="682"/>
                    <a:pt x="1934" y="693"/>
                    <a:pt x="1923" y="706"/>
                  </a:cubicBezTo>
                  <a:cubicBezTo>
                    <a:pt x="1916" y="715"/>
                    <a:pt x="1916" y="715"/>
                    <a:pt x="1916" y="715"/>
                  </a:cubicBezTo>
                  <a:cubicBezTo>
                    <a:pt x="1912" y="720"/>
                    <a:pt x="1912" y="720"/>
                    <a:pt x="1912" y="720"/>
                  </a:cubicBezTo>
                  <a:cubicBezTo>
                    <a:pt x="1908" y="724"/>
                    <a:pt x="1908" y="724"/>
                    <a:pt x="1908" y="724"/>
                  </a:cubicBezTo>
                  <a:cubicBezTo>
                    <a:pt x="1901" y="734"/>
                    <a:pt x="1901" y="734"/>
                    <a:pt x="1901" y="734"/>
                  </a:cubicBezTo>
                  <a:cubicBezTo>
                    <a:pt x="1895" y="744"/>
                    <a:pt x="1895" y="744"/>
                    <a:pt x="1895" y="744"/>
                  </a:cubicBezTo>
                  <a:cubicBezTo>
                    <a:pt x="1894" y="746"/>
                    <a:pt x="1892" y="748"/>
                    <a:pt x="1891" y="749"/>
                  </a:cubicBezTo>
                  <a:cubicBezTo>
                    <a:pt x="1888" y="754"/>
                    <a:pt x="1888" y="754"/>
                    <a:pt x="1888" y="754"/>
                  </a:cubicBezTo>
                  <a:cubicBezTo>
                    <a:pt x="1886" y="758"/>
                    <a:pt x="1884" y="761"/>
                    <a:pt x="1882" y="765"/>
                  </a:cubicBezTo>
                  <a:cubicBezTo>
                    <a:pt x="1879" y="772"/>
                    <a:pt x="1875" y="779"/>
                    <a:pt x="1872" y="787"/>
                  </a:cubicBezTo>
                  <a:cubicBezTo>
                    <a:pt x="1871" y="790"/>
                    <a:pt x="1869" y="794"/>
                    <a:pt x="1868" y="798"/>
                  </a:cubicBezTo>
                  <a:cubicBezTo>
                    <a:pt x="1864" y="809"/>
                    <a:pt x="1864" y="809"/>
                    <a:pt x="1864" y="809"/>
                  </a:cubicBezTo>
                  <a:cubicBezTo>
                    <a:pt x="1862" y="812"/>
                    <a:pt x="1861" y="816"/>
                    <a:pt x="1860" y="820"/>
                  </a:cubicBezTo>
                  <a:cubicBezTo>
                    <a:pt x="1859" y="824"/>
                    <a:pt x="1858" y="828"/>
                    <a:pt x="1857" y="832"/>
                  </a:cubicBezTo>
                  <a:cubicBezTo>
                    <a:pt x="1850" y="863"/>
                    <a:pt x="1851" y="895"/>
                    <a:pt x="1859" y="926"/>
                  </a:cubicBezTo>
                  <a:cubicBezTo>
                    <a:pt x="1860" y="930"/>
                    <a:pt x="1861" y="934"/>
                    <a:pt x="1862" y="938"/>
                  </a:cubicBezTo>
                  <a:cubicBezTo>
                    <a:pt x="1866" y="949"/>
                    <a:pt x="1866" y="949"/>
                    <a:pt x="1866" y="949"/>
                  </a:cubicBezTo>
                  <a:cubicBezTo>
                    <a:pt x="1868" y="954"/>
                    <a:pt x="1868" y="954"/>
                    <a:pt x="1868" y="954"/>
                  </a:cubicBezTo>
                  <a:cubicBezTo>
                    <a:pt x="1869" y="956"/>
                    <a:pt x="1870" y="958"/>
                    <a:pt x="1871" y="960"/>
                  </a:cubicBezTo>
                  <a:cubicBezTo>
                    <a:pt x="1876" y="971"/>
                    <a:pt x="1876" y="971"/>
                    <a:pt x="1876" y="971"/>
                  </a:cubicBezTo>
                  <a:cubicBezTo>
                    <a:pt x="1878" y="976"/>
                    <a:pt x="1878" y="976"/>
                    <a:pt x="1878" y="976"/>
                  </a:cubicBezTo>
                  <a:cubicBezTo>
                    <a:pt x="1879" y="978"/>
                    <a:pt x="1880" y="980"/>
                    <a:pt x="1881" y="981"/>
                  </a:cubicBezTo>
                  <a:cubicBezTo>
                    <a:pt x="1887" y="992"/>
                    <a:pt x="1887" y="992"/>
                    <a:pt x="1887" y="992"/>
                  </a:cubicBezTo>
                  <a:cubicBezTo>
                    <a:pt x="1889" y="995"/>
                    <a:pt x="1891" y="998"/>
                    <a:pt x="1894" y="1002"/>
                  </a:cubicBezTo>
                  <a:cubicBezTo>
                    <a:pt x="1901" y="1011"/>
                    <a:pt x="1901" y="1011"/>
                    <a:pt x="1901" y="1011"/>
                  </a:cubicBezTo>
                  <a:cubicBezTo>
                    <a:pt x="1920" y="1037"/>
                    <a:pt x="1944" y="1059"/>
                    <a:pt x="1969" y="1078"/>
                  </a:cubicBezTo>
                  <a:cubicBezTo>
                    <a:pt x="1995" y="1097"/>
                    <a:pt x="2023" y="1114"/>
                    <a:pt x="2051" y="1128"/>
                  </a:cubicBezTo>
                  <a:cubicBezTo>
                    <a:pt x="2080" y="1143"/>
                    <a:pt x="2110" y="1155"/>
                    <a:pt x="2140" y="1166"/>
                  </a:cubicBezTo>
                  <a:cubicBezTo>
                    <a:pt x="2170" y="1178"/>
                    <a:pt x="2201" y="1187"/>
                    <a:pt x="2232" y="1196"/>
                  </a:cubicBezTo>
                  <a:cubicBezTo>
                    <a:pt x="2294" y="1214"/>
                    <a:pt x="2356" y="1227"/>
                    <a:pt x="2419" y="1239"/>
                  </a:cubicBezTo>
                  <a:cubicBezTo>
                    <a:pt x="2482" y="1250"/>
                    <a:pt x="2545" y="1259"/>
                    <a:pt x="2608" y="1267"/>
                  </a:cubicBezTo>
                  <a:cubicBezTo>
                    <a:pt x="2671" y="1275"/>
                    <a:pt x="2734" y="1281"/>
                    <a:pt x="2796" y="1285"/>
                  </a:cubicBezTo>
                  <a:cubicBezTo>
                    <a:pt x="2921" y="1294"/>
                    <a:pt x="3045" y="1298"/>
                    <a:pt x="3167" y="1306"/>
                  </a:cubicBezTo>
                  <a:cubicBezTo>
                    <a:pt x="3228" y="1309"/>
                    <a:pt x="3289" y="1314"/>
                    <a:pt x="3349" y="1320"/>
                  </a:cubicBezTo>
                  <a:cubicBezTo>
                    <a:pt x="3408" y="1326"/>
                    <a:pt x="3468" y="1334"/>
                    <a:pt x="3525" y="1346"/>
                  </a:cubicBezTo>
                  <a:cubicBezTo>
                    <a:pt x="3583" y="1358"/>
                    <a:pt x="3640" y="1374"/>
                    <a:pt x="3693" y="1398"/>
                  </a:cubicBezTo>
                  <a:cubicBezTo>
                    <a:pt x="3700" y="1401"/>
                    <a:pt x="3706" y="1403"/>
                    <a:pt x="3713" y="1407"/>
                  </a:cubicBezTo>
                  <a:cubicBezTo>
                    <a:pt x="3723" y="1412"/>
                    <a:pt x="3723" y="1412"/>
                    <a:pt x="3723" y="1412"/>
                  </a:cubicBezTo>
                  <a:cubicBezTo>
                    <a:pt x="3732" y="1417"/>
                    <a:pt x="3732" y="1417"/>
                    <a:pt x="3732" y="1417"/>
                  </a:cubicBezTo>
                  <a:cubicBezTo>
                    <a:pt x="3737" y="1419"/>
                    <a:pt x="3737" y="1419"/>
                    <a:pt x="3737" y="1419"/>
                  </a:cubicBezTo>
                  <a:cubicBezTo>
                    <a:pt x="3739" y="1421"/>
                    <a:pt x="3739" y="1421"/>
                    <a:pt x="3739" y="1421"/>
                  </a:cubicBezTo>
                  <a:cubicBezTo>
                    <a:pt x="3742" y="1422"/>
                    <a:pt x="3742" y="1422"/>
                    <a:pt x="3742" y="1422"/>
                  </a:cubicBezTo>
                  <a:cubicBezTo>
                    <a:pt x="3751" y="1427"/>
                    <a:pt x="3751" y="1427"/>
                    <a:pt x="3751" y="1427"/>
                  </a:cubicBezTo>
                  <a:cubicBezTo>
                    <a:pt x="3757" y="1431"/>
                    <a:pt x="3763" y="1435"/>
                    <a:pt x="3769" y="1438"/>
                  </a:cubicBezTo>
                  <a:cubicBezTo>
                    <a:pt x="3774" y="1441"/>
                    <a:pt x="3774" y="1441"/>
                    <a:pt x="3774" y="1441"/>
                  </a:cubicBezTo>
                  <a:cubicBezTo>
                    <a:pt x="3778" y="1444"/>
                    <a:pt x="3778" y="1444"/>
                    <a:pt x="3778" y="1444"/>
                  </a:cubicBezTo>
                  <a:cubicBezTo>
                    <a:pt x="3787" y="1450"/>
                    <a:pt x="3787" y="1450"/>
                    <a:pt x="3787" y="1450"/>
                  </a:cubicBezTo>
                  <a:cubicBezTo>
                    <a:pt x="3793" y="1454"/>
                    <a:pt x="3799" y="1458"/>
                    <a:pt x="3805" y="1462"/>
                  </a:cubicBezTo>
                  <a:cubicBezTo>
                    <a:pt x="3811" y="1466"/>
                    <a:pt x="3817" y="1470"/>
                    <a:pt x="3822" y="1474"/>
                  </a:cubicBezTo>
                  <a:cubicBezTo>
                    <a:pt x="3828" y="1478"/>
                    <a:pt x="3834" y="1482"/>
                    <a:pt x="3839" y="1487"/>
                  </a:cubicBezTo>
                  <a:cubicBezTo>
                    <a:pt x="3845" y="1491"/>
                    <a:pt x="3850" y="1496"/>
                    <a:pt x="3856" y="1500"/>
                  </a:cubicBezTo>
                  <a:cubicBezTo>
                    <a:pt x="3859" y="1503"/>
                    <a:pt x="3861" y="1505"/>
                    <a:pt x="3864" y="1507"/>
                  </a:cubicBezTo>
                  <a:cubicBezTo>
                    <a:pt x="3872" y="1514"/>
                    <a:pt x="3872" y="1514"/>
                    <a:pt x="3872" y="1514"/>
                  </a:cubicBezTo>
                  <a:cubicBezTo>
                    <a:pt x="3877" y="1519"/>
                    <a:pt x="3882" y="1524"/>
                    <a:pt x="3887" y="1529"/>
                  </a:cubicBezTo>
                  <a:cubicBezTo>
                    <a:pt x="3892" y="1534"/>
                    <a:pt x="3897" y="1539"/>
                    <a:pt x="3902" y="1544"/>
                  </a:cubicBezTo>
                  <a:cubicBezTo>
                    <a:pt x="3909" y="1552"/>
                    <a:pt x="3909" y="1552"/>
                    <a:pt x="3909" y="1552"/>
                  </a:cubicBezTo>
                  <a:cubicBezTo>
                    <a:pt x="3911" y="1554"/>
                    <a:pt x="3913" y="1557"/>
                    <a:pt x="3916" y="1560"/>
                  </a:cubicBezTo>
                  <a:cubicBezTo>
                    <a:pt x="3920" y="1565"/>
                    <a:pt x="3924" y="1570"/>
                    <a:pt x="3929" y="1576"/>
                  </a:cubicBezTo>
                  <a:cubicBezTo>
                    <a:pt x="3933" y="1581"/>
                    <a:pt x="3937" y="1587"/>
                    <a:pt x="3941" y="1593"/>
                  </a:cubicBezTo>
                  <a:cubicBezTo>
                    <a:pt x="3947" y="1601"/>
                    <a:pt x="3947" y="1601"/>
                    <a:pt x="3947" y="1601"/>
                  </a:cubicBezTo>
                  <a:cubicBezTo>
                    <a:pt x="3949" y="1604"/>
                    <a:pt x="3951" y="1607"/>
                    <a:pt x="3952" y="1610"/>
                  </a:cubicBezTo>
                  <a:cubicBezTo>
                    <a:pt x="3956" y="1616"/>
                    <a:pt x="3960" y="1622"/>
                    <a:pt x="3963" y="1628"/>
                  </a:cubicBezTo>
                  <a:cubicBezTo>
                    <a:pt x="3966" y="1634"/>
                    <a:pt x="3969" y="1640"/>
                    <a:pt x="3973" y="1646"/>
                  </a:cubicBezTo>
                  <a:cubicBezTo>
                    <a:pt x="3976" y="1652"/>
                    <a:pt x="3978" y="1659"/>
                    <a:pt x="3981" y="1665"/>
                  </a:cubicBezTo>
                  <a:cubicBezTo>
                    <a:pt x="3983" y="1672"/>
                    <a:pt x="3986" y="1678"/>
                    <a:pt x="3988" y="1684"/>
                  </a:cubicBezTo>
                  <a:cubicBezTo>
                    <a:pt x="3990" y="1691"/>
                    <a:pt x="3993" y="1697"/>
                    <a:pt x="3995" y="1704"/>
                  </a:cubicBezTo>
                  <a:cubicBezTo>
                    <a:pt x="3996" y="1710"/>
                    <a:pt x="3998" y="1717"/>
                    <a:pt x="4000" y="1724"/>
                  </a:cubicBezTo>
                  <a:cubicBezTo>
                    <a:pt x="4000" y="1727"/>
                    <a:pt x="4001" y="1730"/>
                    <a:pt x="4002" y="1734"/>
                  </a:cubicBezTo>
                  <a:cubicBezTo>
                    <a:pt x="4004" y="1743"/>
                    <a:pt x="4004" y="1743"/>
                    <a:pt x="4004" y="1743"/>
                  </a:cubicBezTo>
                  <a:cubicBezTo>
                    <a:pt x="4005" y="1753"/>
                    <a:pt x="4005" y="1753"/>
                    <a:pt x="4005" y="1753"/>
                  </a:cubicBezTo>
                  <a:cubicBezTo>
                    <a:pt x="4006" y="1758"/>
                    <a:pt x="4006" y="1758"/>
                    <a:pt x="4006" y="1758"/>
                  </a:cubicBezTo>
                  <a:cubicBezTo>
                    <a:pt x="4007" y="1763"/>
                    <a:pt x="4007" y="1763"/>
                    <a:pt x="4007" y="1763"/>
                  </a:cubicBezTo>
                  <a:cubicBezTo>
                    <a:pt x="4007" y="1770"/>
                    <a:pt x="4008" y="1777"/>
                    <a:pt x="4008" y="1783"/>
                  </a:cubicBezTo>
                  <a:cubicBezTo>
                    <a:pt x="4009" y="1790"/>
                    <a:pt x="4009" y="1797"/>
                    <a:pt x="4009" y="1803"/>
                  </a:cubicBezTo>
                  <a:cubicBezTo>
                    <a:pt x="4009" y="1813"/>
                    <a:pt x="4009" y="1813"/>
                    <a:pt x="4009" y="1813"/>
                  </a:cubicBezTo>
                  <a:cubicBezTo>
                    <a:pt x="4009" y="1823"/>
                    <a:pt x="4009" y="1823"/>
                    <a:pt x="4009" y="1823"/>
                  </a:cubicBezTo>
                  <a:cubicBezTo>
                    <a:pt x="4009" y="1830"/>
                    <a:pt x="4009" y="1837"/>
                    <a:pt x="4008" y="1843"/>
                  </a:cubicBezTo>
                  <a:cubicBezTo>
                    <a:pt x="4007" y="1856"/>
                    <a:pt x="4006" y="1869"/>
                    <a:pt x="4004" y="1882"/>
                  </a:cubicBezTo>
                  <a:cubicBezTo>
                    <a:pt x="4003" y="1889"/>
                    <a:pt x="4002" y="1895"/>
                    <a:pt x="4001" y="1901"/>
                  </a:cubicBezTo>
                  <a:cubicBezTo>
                    <a:pt x="3999" y="1908"/>
                    <a:pt x="3998" y="1914"/>
                    <a:pt x="3997" y="1920"/>
                  </a:cubicBezTo>
                  <a:cubicBezTo>
                    <a:pt x="3996" y="1927"/>
                    <a:pt x="3994" y="1933"/>
                    <a:pt x="3992" y="1939"/>
                  </a:cubicBezTo>
                  <a:cubicBezTo>
                    <a:pt x="3990" y="1945"/>
                    <a:pt x="3989" y="1951"/>
                    <a:pt x="3987" y="1958"/>
                  </a:cubicBezTo>
                  <a:cubicBezTo>
                    <a:pt x="3985" y="1964"/>
                    <a:pt x="3983" y="1970"/>
                    <a:pt x="3982" y="1976"/>
                  </a:cubicBezTo>
                  <a:cubicBezTo>
                    <a:pt x="3979" y="1985"/>
                    <a:pt x="3979" y="1985"/>
                    <a:pt x="3979" y="1985"/>
                  </a:cubicBezTo>
                  <a:cubicBezTo>
                    <a:pt x="3976" y="1994"/>
                    <a:pt x="3976" y="1994"/>
                    <a:pt x="3976" y="1994"/>
                  </a:cubicBezTo>
                  <a:cubicBezTo>
                    <a:pt x="3973" y="2000"/>
                    <a:pt x="3971" y="2006"/>
                    <a:pt x="3969" y="2011"/>
                  </a:cubicBezTo>
                  <a:cubicBezTo>
                    <a:pt x="3967" y="2017"/>
                    <a:pt x="3965" y="2023"/>
                    <a:pt x="3962" y="2029"/>
                  </a:cubicBezTo>
                  <a:cubicBezTo>
                    <a:pt x="3958" y="2040"/>
                    <a:pt x="3953" y="2052"/>
                    <a:pt x="3948" y="2063"/>
                  </a:cubicBezTo>
                  <a:cubicBezTo>
                    <a:pt x="3928" y="2108"/>
                    <a:pt x="3905" y="2150"/>
                    <a:pt x="3881" y="2191"/>
                  </a:cubicBezTo>
                  <a:cubicBezTo>
                    <a:pt x="3856" y="2231"/>
                    <a:pt x="3831" y="2269"/>
                    <a:pt x="3805" y="2305"/>
                  </a:cubicBezTo>
                  <a:cubicBezTo>
                    <a:pt x="3753" y="2378"/>
                    <a:pt x="3700" y="2444"/>
                    <a:pt x="3649" y="2505"/>
                  </a:cubicBezTo>
                  <a:cubicBezTo>
                    <a:pt x="3598" y="2566"/>
                    <a:pt x="3548" y="2621"/>
                    <a:pt x="3503" y="2673"/>
                  </a:cubicBezTo>
                  <a:cubicBezTo>
                    <a:pt x="3457" y="2724"/>
                    <a:pt x="3414" y="2770"/>
                    <a:pt x="3376" y="2813"/>
                  </a:cubicBezTo>
                  <a:cubicBezTo>
                    <a:pt x="3338" y="2855"/>
                    <a:pt x="3304" y="2893"/>
                    <a:pt x="3276" y="2926"/>
                  </a:cubicBezTo>
                  <a:cubicBezTo>
                    <a:pt x="3247" y="2960"/>
                    <a:pt x="3224" y="2989"/>
                    <a:pt x="3205" y="3013"/>
                  </a:cubicBezTo>
                  <a:cubicBezTo>
                    <a:pt x="3187" y="3037"/>
                    <a:pt x="3174" y="3056"/>
                    <a:pt x="3165" y="3069"/>
                  </a:cubicBezTo>
                  <a:cubicBezTo>
                    <a:pt x="3157" y="3083"/>
                    <a:pt x="3152" y="3089"/>
                    <a:pt x="3152" y="3089"/>
                  </a:cubicBezTo>
                  <a:lnTo>
                    <a:pt x="3136" y="307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p:cNvGrpSpPr/>
          <p:nvPr/>
        </p:nvGrpSpPr>
        <p:grpSpPr>
          <a:xfrm>
            <a:off x="2226959" y="4566684"/>
            <a:ext cx="1157370" cy="2241799"/>
            <a:chOff x="6940174" y="3246442"/>
            <a:chExt cx="1175340" cy="2223712"/>
          </a:xfrm>
        </p:grpSpPr>
        <p:grpSp>
          <p:nvGrpSpPr>
            <p:cNvPr id="82" name="Group 81"/>
            <p:cNvGrpSpPr/>
            <p:nvPr/>
          </p:nvGrpSpPr>
          <p:grpSpPr>
            <a:xfrm>
              <a:off x="6940174" y="3246442"/>
              <a:ext cx="1175340" cy="2192500"/>
              <a:chOff x="5455241" y="1480656"/>
              <a:chExt cx="1517619" cy="2830995"/>
            </a:xfrm>
          </p:grpSpPr>
          <p:grpSp>
            <p:nvGrpSpPr>
              <p:cNvPr id="84" name="Group 83"/>
              <p:cNvGrpSpPr/>
              <p:nvPr/>
            </p:nvGrpSpPr>
            <p:grpSpPr>
              <a:xfrm>
                <a:off x="6083422" y="2925441"/>
                <a:ext cx="246291" cy="1386210"/>
                <a:chOff x="2641600" y="3431522"/>
                <a:chExt cx="246291" cy="2446764"/>
              </a:xfrm>
            </p:grpSpPr>
            <p:sp>
              <p:nvSpPr>
                <p:cNvPr id="87" name="Rectangle 86"/>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5" name="Flowchart: Connector 84"/>
              <p:cNvSpPr/>
              <p:nvPr/>
            </p:nvSpPr>
            <p:spPr>
              <a:xfrm>
                <a:off x="5455241" y="1480656"/>
                <a:ext cx="1517619" cy="1517619"/>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Flowchart: Connector 85"/>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Oval 82"/>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Graphic 6" descr="Building Brick Wall with solid fill">
            <a:extLst>
              <a:ext uri="{FF2B5EF4-FFF2-40B4-BE49-F238E27FC236}">
                <a16:creationId xmlns:a16="http://schemas.microsoft.com/office/drawing/2014/main" id="{4BC1CC32-1AFF-5142-B207-7C6F9016A9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12234" y="4867177"/>
            <a:ext cx="586821" cy="586821"/>
          </a:xfrm>
          <a:prstGeom prst="rect">
            <a:avLst/>
          </a:prstGeom>
        </p:spPr>
      </p:pic>
      <p:pic>
        <p:nvPicPr>
          <p:cNvPr id="116" name="Picture 115" descr="A picture containing text, road, sky, outdoor&#10;&#10;Description automatically generated">
            <a:extLst>
              <a:ext uri="{FF2B5EF4-FFF2-40B4-BE49-F238E27FC236}">
                <a16:creationId xmlns:a16="http://schemas.microsoft.com/office/drawing/2014/main" id="{81F61052-0FDE-DC4F-9A1F-06F1F6701604}"/>
              </a:ext>
            </a:extLst>
          </p:cNvPr>
          <p:cNvPicPr>
            <a:picLocks noChangeAspect="1"/>
          </p:cNvPicPr>
          <p:nvPr/>
        </p:nvPicPr>
        <p:blipFill rotWithShape="1">
          <a:blip r:embed="rId5"/>
          <a:srcRect t="54405"/>
          <a:stretch/>
        </p:blipFill>
        <p:spPr>
          <a:xfrm>
            <a:off x="20" y="10"/>
            <a:ext cx="12191980" cy="1850760"/>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07" name="Straight Connector 106">
            <a:extLst>
              <a:ext uri="{FF2B5EF4-FFF2-40B4-BE49-F238E27FC236}">
                <a16:creationId xmlns:a16="http://schemas.microsoft.com/office/drawing/2014/main" id="{5FC36B12-09D7-E849-870A-BEFDD46A8422}"/>
              </a:ext>
            </a:extLst>
          </p:cNvPr>
          <p:cNvCxnSpPr>
            <a:cxnSpLocks/>
          </p:cNvCxnSpPr>
          <p:nvPr/>
        </p:nvCxnSpPr>
        <p:spPr>
          <a:xfrm>
            <a:off x="7853648" y="2900038"/>
            <a:ext cx="0" cy="289364"/>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B82D5BF7-FB49-EF43-8FD7-642800CF1298}"/>
              </a:ext>
            </a:extLst>
          </p:cNvPr>
          <p:cNvSpPr txBox="1"/>
          <p:nvPr/>
        </p:nvSpPr>
        <p:spPr>
          <a:xfrm>
            <a:off x="7925905" y="2718715"/>
            <a:ext cx="818813" cy="400110"/>
          </a:xfrm>
          <a:prstGeom prst="rect">
            <a:avLst/>
          </a:prstGeom>
          <a:noFill/>
        </p:spPr>
        <p:txBody>
          <a:bodyPr wrap="square" rtlCol="0">
            <a:spAutoFit/>
          </a:bodyPr>
          <a:lstStyle/>
          <a:p>
            <a:r>
              <a:rPr lang="en-US" sz="2000" b="1" dirty="0">
                <a:solidFill>
                  <a:srgbClr val="FF0000"/>
                </a:solidFill>
              </a:rPr>
              <a:t>2017</a:t>
            </a:r>
            <a:endParaRPr lang="en-GB" sz="2000" b="1" dirty="0">
              <a:solidFill>
                <a:srgbClr val="FF0000"/>
              </a:solidFill>
            </a:endParaRPr>
          </a:p>
        </p:txBody>
      </p:sp>
      <p:sp>
        <p:nvSpPr>
          <p:cNvPr id="121" name="TextBox 120">
            <a:extLst>
              <a:ext uri="{FF2B5EF4-FFF2-40B4-BE49-F238E27FC236}">
                <a16:creationId xmlns:a16="http://schemas.microsoft.com/office/drawing/2014/main" id="{198E83FD-9D6D-C645-B69B-A1388E1903D8}"/>
              </a:ext>
            </a:extLst>
          </p:cNvPr>
          <p:cNvSpPr txBox="1"/>
          <p:nvPr/>
        </p:nvSpPr>
        <p:spPr>
          <a:xfrm>
            <a:off x="7924720" y="2993267"/>
            <a:ext cx="3709745" cy="307777"/>
          </a:xfrm>
          <a:prstGeom prst="rect">
            <a:avLst/>
          </a:prstGeom>
          <a:noFill/>
        </p:spPr>
        <p:txBody>
          <a:bodyPr wrap="square" rtlCol="0">
            <a:spAutoFit/>
          </a:bodyPr>
          <a:lstStyle/>
          <a:p>
            <a:r>
              <a:rPr lang="en-US" sz="1400" dirty="0"/>
              <a:t>Build Foundation</a:t>
            </a:r>
          </a:p>
        </p:txBody>
      </p:sp>
      <p:pic>
        <p:nvPicPr>
          <p:cNvPr id="152" name="Picture 151" descr="A picture containing background pattern&#10;&#10;Description automatically generated">
            <a:extLst>
              <a:ext uri="{FF2B5EF4-FFF2-40B4-BE49-F238E27FC236}">
                <a16:creationId xmlns:a16="http://schemas.microsoft.com/office/drawing/2014/main" id="{4D3AD630-9C71-5D4E-89E3-2F2D761A6982}"/>
              </a:ext>
            </a:extLst>
          </p:cNvPr>
          <p:cNvPicPr>
            <a:picLocks noChangeAspect="1"/>
          </p:cNvPicPr>
          <p:nvPr/>
        </p:nvPicPr>
        <p:blipFill>
          <a:blip r:embed="rId6"/>
          <a:stretch>
            <a:fillRect/>
          </a:stretch>
        </p:blipFill>
        <p:spPr>
          <a:xfrm>
            <a:off x="6449097" y="2343545"/>
            <a:ext cx="1332295" cy="4194431"/>
          </a:xfrm>
          <a:prstGeom prst="rect">
            <a:avLst/>
          </a:prstGeom>
        </p:spPr>
      </p:pic>
    </p:spTree>
    <p:extLst>
      <p:ext uri="{BB962C8B-B14F-4D97-AF65-F5344CB8AC3E}">
        <p14:creationId xmlns:p14="http://schemas.microsoft.com/office/powerpoint/2010/main" val="28930998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543550" y="3038514"/>
            <a:ext cx="816271" cy="1610440"/>
            <a:chOff x="5732595" y="1773497"/>
            <a:chExt cx="1137880" cy="2152837"/>
          </a:xfrm>
        </p:grpSpPr>
        <p:grpSp>
          <p:nvGrpSpPr>
            <p:cNvPr id="90" name="Group 89"/>
            <p:cNvGrpSpPr/>
            <p:nvPr/>
          </p:nvGrpSpPr>
          <p:grpSpPr>
            <a:xfrm>
              <a:off x="5732595" y="1773497"/>
              <a:ext cx="1137880" cy="2152837"/>
              <a:chOff x="6940174" y="3246442"/>
              <a:chExt cx="1175340" cy="2223712"/>
            </a:xfrm>
          </p:grpSpPr>
          <p:grpSp>
            <p:nvGrpSpPr>
              <p:cNvPr id="91" name="Group 90"/>
              <p:cNvGrpSpPr/>
              <p:nvPr/>
            </p:nvGrpSpPr>
            <p:grpSpPr>
              <a:xfrm>
                <a:off x="6940174" y="3246442"/>
                <a:ext cx="1175340" cy="2192500"/>
                <a:chOff x="5455241" y="1480656"/>
                <a:chExt cx="1517619" cy="2830995"/>
              </a:xfrm>
            </p:grpSpPr>
            <p:grpSp>
              <p:nvGrpSpPr>
                <p:cNvPr id="93" name="Group 92"/>
                <p:cNvGrpSpPr/>
                <p:nvPr/>
              </p:nvGrpSpPr>
              <p:grpSpPr>
                <a:xfrm>
                  <a:off x="6083422" y="2925441"/>
                  <a:ext cx="246291" cy="1386210"/>
                  <a:chOff x="2641600" y="3431522"/>
                  <a:chExt cx="246291" cy="2446764"/>
                </a:xfrm>
              </p:grpSpPr>
              <p:sp>
                <p:nvSpPr>
                  <p:cNvPr id="96" name="Rectangle 95"/>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4" name="Flowchart: Connector 93"/>
                <p:cNvSpPr/>
                <p:nvPr/>
              </p:nvSpPr>
              <p:spPr>
                <a:xfrm>
                  <a:off x="5455241" y="1480656"/>
                  <a:ext cx="1517619" cy="1517619"/>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lowchart: Connector 94"/>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Oval 91"/>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8" name="Freeform 30"/>
            <p:cNvSpPr>
              <a:spLocks noChangeArrowheads="1"/>
            </p:cNvSpPr>
            <p:nvPr/>
          </p:nvSpPr>
          <p:spPr bwMode="auto">
            <a:xfrm>
              <a:off x="6078746" y="2124447"/>
              <a:ext cx="445580" cy="423301"/>
            </a:xfrm>
            <a:custGeom>
              <a:avLst/>
              <a:gdLst>
                <a:gd name="T0" fmla="*/ 59356 w 498"/>
                <a:gd name="T1" fmla="*/ 210688 h 470"/>
                <a:gd name="T2" fmla="*/ 59356 w 498"/>
                <a:gd name="T3" fmla="*/ 210688 h 470"/>
                <a:gd name="T4" fmla="*/ 83009 w 498"/>
                <a:gd name="T5" fmla="*/ 210688 h 470"/>
                <a:gd name="T6" fmla="*/ 130762 w 498"/>
                <a:gd name="T7" fmla="*/ 119045 h 470"/>
                <a:gd name="T8" fmla="*/ 190117 w 498"/>
                <a:gd name="T9" fmla="*/ 119045 h 470"/>
                <a:gd name="T10" fmla="*/ 221804 w 498"/>
                <a:gd name="T11" fmla="*/ 103322 h 470"/>
                <a:gd name="T12" fmla="*/ 190117 w 498"/>
                <a:gd name="T13" fmla="*/ 87599 h 470"/>
                <a:gd name="T14" fmla="*/ 130762 w 498"/>
                <a:gd name="T15" fmla="*/ 87599 h 470"/>
                <a:gd name="T16" fmla="*/ 83009 w 498"/>
                <a:gd name="T17" fmla="*/ 0 h 470"/>
                <a:gd name="T18" fmla="*/ 59356 w 498"/>
                <a:gd name="T19" fmla="*/ 0 h 470"/>
                <a:gd name="T20" fmla="*/ 87026 w 498"/>
                <a:gd name="T21" fmla="*/ 87599 h 470"/>
                <a:gd name="T22" fmla="*/ 47753 w 498"/>
                <a:gd name="T23" fmla="*/ 87599 h 470"/>
                <a:gd name="T24" fmla="*/ 23653 w 498"/>
                <a:gd name="T25" fmla="*/ 67384 h 470"/>
                <a:gd name="T26" fmla="*/ 0 w 498"/>
                <a:gd name="T27" fmla="*/ 67384 h 470"/>
                <a:gd name="T28" fmla="*/ 16066 w 498"/>
                <a:gd name="T29" fmla="*/ 103322 h 470"/>
                <a:gd name="T30" fmla="*/ 0 w 498"/>
                <a:gd name="T31" fmla="*/ 143304 h 470"/>
                <a:gd name="T32" fmla="*/ 23653 w 498"/>
                <a:gd name="T33" fmla="*/ 143304 h 470"/>
                <a:gd name="T34" fmla="*/ 47753 w 498"/>
                <a:gd name="T35" fmla="*/ 119045 h 470"/>
                <a:gd name="T36" fmla="*/ 87026 w 498"/>
                <a:gd name="T37" fmla="*/ 119045 h 470"/>
                <a:gd name="T38" fmla="*/ 59356 w 498"/>
                <a:gd name="T39" fmla="*/ 210688 h 4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98" h="470">
                  <a:moveTo>
                    <a:pt x="133" y="469"/>
                  </a:moveTo>
                  <a:lnTo>
                    <a:pt x="133" y="469"/>
                  </a:lnTo>
                  <a:cubicBezTo>
                    <a:pt x="186" y="469"/>
                    <a:pt x="186" y="469"/>
                    <a:pt x="186" y="469"/>
                  </a:cubicBezTo>
                  <a:cubicBezTo>
                    <a:pt x="293" y="265"/>
                    <a:pt x="293" y="265"/>
                    <a:pt x="293" y="265"/>
                  </a:cubicBezTo>
                  <a:cubicBezTo>
                    <a:pt x="426" y="265"/>
                    <a:pt x="426" y="265"/>
                    <a:pt x="426" y="265"/>
                  </a:cubicBezTo>
                  <a:cubicBezTo>
                    <a:pt x="426" y="265"/>
                    <a:pt x="497" y="265"/>
                    <a:pt x="497" y="230"/>
                  </a:cubicBezTo>
                  <a:cubicBezTo>
                    <a:pt x="497" y="195"/>
                    <a:pt x="426" y="195"/>
                    <a:pt x="426" y="195"/>
                  </a:cubicBezTo>
                  <a:cubicBezTo>
                    <a:pt x="293" y="195"/>
                    <a:pt x="293" y="195"/>
                    <a:pt x="293" y="195"/>
                  </a:cubicBezTo>
                  <a:cubicBezTo>
                    <a:pt x="186" y="0"/>
                    <a:pt x="186" y="0"/>
                    <a:pt x="186" y="0"/>
                  </a:cubicBezTo>
                  <a:cubicBezTo>
                    <a:pt x="133" y="0"/>
                    <a:pt x="133" y="0"/>
                    <a:pt x="133" y="0"/>
                  </a:cubicBezTo>
                  <a:cubicBezTo>
                    <a:pt x="195" y="195"/>
                    <a:pt x="195" y="195"/>
                    <a:pt x="195" y="195"/>
                  </a:cubicBezTo>
                  <a:cubicBezTo>
                    <a:pt x="107" y="195"/>
                    <a:pt x="107" y="195"/>
                    <a:pt x="107" y="195"/>
                  </a:cubicBezTo>
                  <a:cubicBezTo>
                    <a:pt x="53" y="150"/>
                    <a:pt x="53" y="150"/>
                    <a:pt x="53" y="150"/>
                  </a:cubicBezTo>
                  <a:cubicBezTo>
                    <a:pt x="0" y="150"/>
                    <a:pt x="0" y="150"/>
                    <a:pt x="0" y="150"/>
                  </a:cubicBezTo>
                  <a:cubicBezTo>
                    <a:pt x="36" y="230"/>
                    <a:pt x="36" y="230"/>
                    <a:pt x="36" y="230"/>
                  </a:cubicBezTo>
                  <a:cubicBezTo>
                    <a:pt x="0" y="319"/>
                    <a:pt x="0" y="319"/>
                    <a:pt x="0" y="319"/>
                  </a:cubicBezTo>
                  <a:cubicBezTo>
                    <a:pt x="53" y="319"/>
                    <a:pt x="53" y="319"/>
                    <a:pt x="53" y="319"/>
                  </a:cubicBezTo>
                  <a:cubicBezTo>
                    <a:pt x="107" y="265"/>
                    <a:pt x="107" y="265"/>
                    <a:pt x="107" y="265"/>
                  </a:cubicBezTo>
                  <a:cubicBezTo>
                    <a:pt x="195" y="265"/>
                    <a:pt x="195" y="265"/>
                    <a:pt x="195" y="265"/>
                  </a:cubicBezTo>
                  <a:lnTo>
                    <a:pt x="133" y="469"/>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grpSp>
      <p:grpSp>
        <p:nvGrpSpPr>
          <p:cNvPr id="9" name="Group 8"/>
          <p:cNvGrpSpPr/>
          <p:nvPr/>
        </p:nvGrpSpPr>
        <p:grpSpPr>
          <a:xfrm>
            <a:off x="-3003711" y="2139869"/>
            <a:ext cx="9381737" cy="5023175"/>
            <a:chOff x="-3859698" y="1008495"/>
            <a:chExt cx="11034207" cy="6676202"/>
          </a:xfrm>
        </p:grpSpPr>
        <p:grpSp>
          <p:nvGrpSpPr>
            <p:cNvPr id="29" name="Group 28"/>
            <p:cNvGrpSpPr/>
            <p:nvPr/>
          </p:nvGrpSpPr>
          <p:grpSpPr>
            <a:xfrm>
              <a:off x="-322072" y="1008495"/>
              <a:ext cx="7496581" cy="6676202"/>
              <a:chOff x="-322072" y="1008495"/>
              <a:chExt cx="7496581" cy="6676202"/>
            </a:xfrm>
          </p:grpSpPr>
          <p:sp>
            <p:nvSpPr>
              <p:cNvPr id="30" name="Freeform 169"/>
              <p:cNvSpPr>
                <a:spLocks/>
              </p:cNvSpPr>
              <p:nvPr/>
            </p:nvSpPr>
            <p:spPr bwMode="auto">
              <a:xfrm>
                <a:off x="-285249" y="1127529"/>
                <a:ext cx="7401525" cy="6557168"/>
              </a:xfrm>
              <a:custGeom>
                <a:avLst/>
                <a:gdLst>
                  <a:gd name="T0" fmla="*/ 3643 w 3657"/>
                  <a:gd name="T1" fmla="*/ 2265 h 3238"/>
                  <a:gd name="T2" fmla="*/ 3625 w 3657"/>
                  <a:gd name="T3" fmla="*/ 2395 h 3238"/>
                  <a:gd name="T4" fmla="*/ 3619 w 3657"/>
                  <a:gd name="T5" fmla="*/ 2445 h 3238"/>
                  <a:gd name="T6" fmla="*/ 3653 w 3657"/>
                  <a:gd name="T7" fmla="*/ 2937 h 3238"/>
                  <a:gd name="T8" fmla="*/ 3644 w 3657"/>
                  <a:gd name="T9" fmla="*/ 3018 h 3238"/>
                  <a:gd name="T10" fmla="*/ 3583 w 3657"/>
                  <a:gd name="T11" fmla="*/ 3005 h 3238"/>
                  <a:gd name="T12" fmla="*/ 3514 w 3657"/>
                  <a:gd name="T13" fmla="*/ 2981 h 3238"/>
                  <a:gd name="T14" fmla="*/ 3361 w 3657"/>
                  <a:gd name="T15" fmla="*/ 3013 h 3238"/>
                  <a:gd name="T16" fmla="*/ 3118 w 3657"/>
                  <a:gd name="T17" fmla="*/ 3109 h 3238"/>
                  <a:gd name="T18" fmla="*/ 3066 w 3657"/>
                  <a:gd name="T19" fmla="*/ 3095 h 3238"/>
                  <a:gd name="T20" fmla="*/ 3023 w 3657"/>
                  <a:gd name="T21" fmla="*/ 3068 h 3238"/>
                  <a:gd name="T22" fmla="*/ 2804 w 3657"/>
                  <a:gd name="T23" fmla="*/ 3054 h 3238"/>
                  <a:gd name="T24" fmla="*/ 2732 w 3657"/>
                  <a:gd name="T25" fmla="*/ 3085 h 3238"/>
                  <a:gd name="T26" fmla="*/ 2197 w 3657"/>
                  <a:gd name="T27" fmla="*/ 2960 h 3238"/>
                  <a:gd name="T28" fmla="*/ 1900 w 3657"/>
                  <a:gd name="T29" fmla="*/ 2963 h 3238"/>
                  <a:gd name="T30" fmla="*/ 1829 w 3657"/>
                  <a:gd name="T31" fmla="*/ 2968 h 3238"/>
                  <a:gd name="T32" fmla="*/ 1696 w 3657"/>
                  <a:gd name="T33" fmla="*/ 2901 h 3238"/>
                  <a:gd name="T34" fmla="*/ 2030 w 3657"/>
                  <a:gd name="T35" fmla="*/ 2641 h 3238"/>
                  <a:gd name="T36" fmla="*/ 2094 w 3657"/>
                  <a:gd name="T37" fmla="*/ 2587 h 3238"/>
                  <a:gd name="T38" fmla="*/ 2154 w 3657"/>
                  <a:gd name="T39" fmla="*/ 2530 h 3238"/>
                  <a:gd name="T40" fmla="*/ 2292 w 3657"/>
                  <a:gd name="T41" fmla="*/ 2330 h 3238"/>
                  <a:gd name="T42" fmla="*/ 2324 w 3657"/>
                  <a:gd name="T43" fmla="*/ 2249 h 3238"/>
                  <a:gd name="T44" fmla="*/ 2349 w 3657"/>
                  <a:gd name="T45" fmla="*/ 1866 h 3238"/>
                  <a:gd name="T46" fmla="*/ 1824 w 3657"/>
                  <a:gd name="T47" fmla="*/ 1548 h 3238"/>
                  <a:gd name="T48" fmla="*/ 1060 w 3657"/>
                  <a:gd name="T49" fmla="*/ 1492 h 3238"/>
                  <a:gd name="T50" fmla="*/ 263 w 3657"/>
                  <a:gd name="T51" fmla="*/ 1128 h 3238"/>
                  <a:gd name="T52" fmla="*/ 258 w 3657"/>
                  <a:gd name="T53" fmla="*/ 997 h 3238"/>
                  <a:gd name="T54" fmla="*/ 317 w 3657"/>
                  <a:gd name="T55" fmla="*/ 881 h 3238"/>
                  <a:gd name="T56" fmla="*/ 738 w 3657"/>
                  <a:gd name="T57" fmla="*/ 631 h 3238"/>
                  <a:gd name="T58" fmla="*/ 915 w 3657"/>
                  <a:gd name="T59" fmla="*/ 576 h 3238"/>
                  <a:gd name="T60" fmla="*/ 1225 w 3657"/>
                  <a:gd name="T61" fmla="*/ 404 h 3238"/>
                  <a:gd name="T62" fmla="*/ 1170 w 3657"/>
                  <a:gd name="T63" fmla="*/ 345 h 3238"/>
                  <a:gd name="T64" fmla="*/ 772 w 3657"/>
                  <a:gd name="T65" fmla="*/ 259 h 3238"/>
                  <a:gd name="T66" fmla="*/ 335 w 3657"/>
                  <a:gd name="T67" fmla="*/ 238 h 3238"/>
                  <a:gd name="T68" fmla="*/ 78 w 3657"/>
                  <a:gd name="T69" fmla="*/ 227 h 3238"/>
                  <a:gd name="T70" fmla="*/ 49 w 3657"/>
                  <a:gd name="T71" fmla="*/ 127 h 3238"/>
                  <a:gd name="T72" fmla="*/ 25 w 3657"/>
                  <a:gd name="T73" fmla="*/ 67 h 3238"/>
                  <a:gd name="T74" fmla="*/ 7 w 3657"/>
                  <a:gd name="T75" fmla="*/ 15 h 3238"/>
                  <a:gd name="T76" fmla="*/ 92 w 3657"/>
                  <a:gd name="T77" fmla="*/ 2 h 3238"/>
                  <a:gd name="T78" fmla="*/ 114 w 3657"/>
                  <a:gd name="T79" fmla="*/ 3 h 3238"/>
                  <a:gd name="T80" fmla="*/ 361 w 3657"/>
                  <a:gd name="T81" fmla="*/ 10 h 3238"/>
                  <a:gd name="T82" fmla="*/ 851 w 3657"/>
                  <a:gd name="T83" fmla="*/ 65 h 3238"/>
                  <a:gd name="T84" fmla="*/ 865 w 3657"/>
                  <a:gd name="T85" fmla="*/ 67 h 3238"/>
                  <a:gd name="T86" fmla="*/ 1055 w 3657"/>
                  <a:gd name="T87" fmla="*/ 95 h 3238"/>
                  <a:gd name="T88" fmla="*/ 1450 w 3657"/>
                  <a:gd name="T89" fmla="*/ 183 h 3238"/>
                  <a:gd name="T90" fmla="*/ 1733 w 3657"/>
                  <a:gd name="T91" fmla="*/ 524 h 3238"/>
                  <a:gd name="T92" fmla="*/ 1362 w 3657"/>
                  <a:gd name="T93" fmla="*/ 752 h 3238"/>
                  <a:gd name="T94" fmla="*/ 933 w 3657"/>
                  <a:gd name="T95" fmla="*/ 921 h 3238"/>
                  <a:gd name="T96" fmla="*/ 958 w 3657"/>
                  <a:gd name="T97" fmla="*/ 1052 h 3238"/>
                  <a:gd name="T98" fmla="*/ 1477 w 3657"/>
                  <a:gd name="T99" fmla="*/ 1131 h 3238"/>
                  <a:gd name="T100" fmla="*/ 1552 w 3657"/>
                  <a:gd name="T101" fmla="*/ 1131 h 3238"/>
                  <a:gd name="T102" fmla="*/ 1751 w 3657"/>
                  <a:gd name="T103" fmla="*/ 1129 h 3238"/>
                  <a:gd name="T104" fmla="*/ 2044 w 3657"/>
                  <a:gd name="T105" fmla="*/ 1128 h 3238"/>
                  <a:gd name="T106" fmla="*/ 3624 w 3657"/>
                  <a:gd name="T107" fmla="*/ 2178 h 3238"/>
                  <a:gd name="T108" fmla="*/ 3643 w 3657"/>
                  <a:gd name="T109" fmla="*/ 2265 h 3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57" h="3238">
                    <a:moveTo>
                      <a:pt x="3643" y="2265"/>
                    </a:moveTo>
                    <a:cubicBezTo>
                      <a:pt x="3643" y="2265"/>
                      <a:pt x="3635" y="2320"/>
                      <a:pt x="3625" y="2395"/>
                    </a:cubicBezTo>
                    <a:cubicBezTo>
                      <a:pt x="3623" y="2411"/>
                      <a:pt x="3621" y="2427"/>
                      <a:pt x="3619" y="2445"/>
                    </a:cubicBezTo>
                    <a:cubicBezTo>
                      <a:pt x="3587" y="2607"/>
                      <a:pt x="3643" y="2769"/>
                      <a:pt x="3653" y="2937"/>
                    </a:cubicBezTo>
                    <a:cubicBezTo>
                      <a:pt x="3655" y="2967"/>
                      <a:pt x="3657" y="3000"/>
                      <a:pt x="3644" y="3018"/>
                    </a:cubicBezTo>
                    <a:cubicBezTo>
                      <a:pt x="3635" y="3032"/>
                      <a:pt x="3603" y="3014"/>
                      <a:pt x="3583" y="3005"/>
                    </a:cubicBezTo>
                    <a:cubicBezTo>
                      <a:pt x="3560" y="2996"/>
                      <a:pt x="3537" y="2987"/>
                      <a:pt x="3514" y="2981"/>
                    </a:cubicBezTo>
                    <a:cubicBezTo>
                      <a:pt x="3458" y="2967"/>
                      <a:pt x="3408" y="2988"/>
                      <a:pt x="3361" y="3013"/>
                    </a:cubicBezTo>
                    <a:cubicBezTo>
                      <a:pt x="3281" y="3058"/>
                      <a:pt x="3207" y="3118"/>
                      <a:pt x="3118" y="3109"/>
                    </a:cubicBezTo>
                    <a:cubicBezTo>
                      <a:pt x="3099" y="3108"/>
                      <a:pt x="3082" y="3103"/>
                      <a:pt x="3066" y="3095"/>
                    </a:cubicBezTo>
                    <a:cubicBezTo>
                      <a:pt x="3050" y="3088"/>
                      <a:pt x="3036" y="3079"/>
                      <a:pt x="3023" y="3068"/>
                    </a:cubicBezTo>
                    <a:cubicBezTo>
                      <a:pt x="2949" y="3020"/>
                      <a:pt x="2876" y="3028"/>
                      <a:pt x="2804" y="3054"/>
                    </a:cubicBezTo>
                    <a:cubicBezTo>
                      <a:pt x="2779" y="3063"/>
                      <a:pt x="2755" y="3074"/>
                      <a:pt x="2732" y="3085"/>
                    </a:cubicBezTo>
                    <a:cubicBezTo>
                      <a:pt x="2552" y="3238"/>
                      <a:pt x="2332" y="3162"/>
                      <a:pt x="2197" y="2960"/>
                    </a:cubicBezTo>
                    <a:cubicBezTo>
                      <a:pt x="2137" y="2872"/>
                      <a:pt x="1997" y="2937"/>
                      <a:pt x="1900" y="2963"/>
                    </a:cubicBezTo>
                    <a:cubicBezTo>
                      <a:pt x="1876" y="2968"/>
                      <a:pt x="1852" y="2970"/>
                      <a:pt x="1829" y="2968"/>
                    </a:cubicBezTo>
                    <a:cubicBezTo>
                      <a:pt x="1782" y="2964"/>
                      <a:pt x="1738" y="2945"/>
                      <a:pt x="1696" y="2901"/>
                    </a:cubicBezTo>
                    <a:cubicBezTo>
                      <a:pt x="1798" y="2809"/>
                      <a:pt x="1920" y="2729"/>
                      <a:pt x="2030" y="2641"/>
                    </a:cubicBezTo>
                    <a:cubicBezTo>
                      <a:pt x="2052" y="2623"/>
                      <a:pt x="2073" y="2605"/>
                      <a:pt x="2094" y="2587"/>
                    </a:cubicBezTo>
                    <a:cubicBezTo>
                      <a:pt x="2115" y="2568"/>
                      <a:pt x="2135" y="2550"/>
                      <a:pt x="2154" y="2530"/>
                    </a:cubicBezTo>
                    <a:cubicBezTo>
                      <a:pt x="2211" y="2471"/>
                      <a:pt x="2259" y="2406"/>
                      <a:pt x="2292" y="2330"/>
                    </a:cubicBezTo>
                    <a:cubicBezTo>
                      <a:pt x="2304" y="2303"/>
                      <a:pt x="2315" y="2277"/>
                      <a:pt x="2324" y="2249"/>
                    </a:cubicBezTo>
                    <a:cubicBezTo>
                      <a:pt x="2373" y="2114"/>
                      <a:pt x="2388" y="1973"/>
                      <a:pt x="2349" y="1866"/>
                    </a:cubicBezTo>
                    <a:cubicBezTo>
                      <a:pt x="2274" y="1654"/>
                      <a:pt x="2096" y="1579"/>
                      <a:pt x="1824" y="1548"/>
                    </a:cubicBezTo>
                    <a:cubicBezTo>
                      <a:pt x="1572" y="1519"/>
                      <a:pt x="1312" y="1523"/>
                      <a:pt x="1060" y="1492"/>
                    </a:cubicBezTo>
                    <a:cubicBezTo>
                      <a:pt x="771" y="1456"/>
                      <a:pt x="342" y="1382"/>
                      <a:pt x="263" y="1128"/>
                    </a:cubicBezTo>
                    <a:cubicBezTo>
                      <a:pt x="249" y="1082"/>
                      <a:pt x="248" y="1039"/>
                      <a:pt x="258" y="997"/>
                    </a:cubicBezTo>
                    <a:cubicBezTo>
                      <a:pt x="268" y="956"/>
                      <a:pt x="289" y="917"/>
                      <a:pt x="317" y="881"/>
                    </a:cubicBezTo>
                    <a:cubicBezTo>
                      <a:pt x="426" y="756"/>
                      <a:pt x="582" y="684"/>
                      <a:pt x="738" y="631"/>
                    </a:cubicBezTo>
                    <a:cubicBezTo>
                      <a:pt x="796" y="611"/>
                      <a:pt x="856" y="593"/>
                      <a:pt x="915" y="576"/>
                    </a:cubicBezTo>
                    <a:cubicBezTo>
                      <a:pt x="985" y="556"/>
                      <a:pt x="1261" y="511"/>
                      <a:pt x="1225" y="404"/>
                    </a:cubicBezTo>
                    <a:cubicBezTo>
                      <a:pt x="1216" y="378"/>
                      <a:pt x="1195" y="358"/>
                      <a:pt x="1170" y="345"/>
                    </a:cubicBezTo>
                    <a:cubicBezTo>
                      <a:pt x="1049" y="284"/>
                      <a:pt x="907" y="268"/>
                      <a:pt x="772" y="259"/>
                    </a:cubicBezTo>
                    <a:cubicBezTo>
                      <a:pt x="627" y="249"/>
                      <a:pt x="481" y="244"/>
                      <a:pt x="335" y="238"/>
                    </a:cubicBezTo>
                    <a:cubicBezTo>
                      <a:pt x="316" y="237"/>
                      <a:pt x="78" y="213"/>
                      <a:pt x="78" y="227"/>
                    </a:cubicBezTo>
                    <a:cubicBezTo>
                      <a:pt x="77" y="187"/>
                      <a:pt x="66" y="163"/>
                      <a:pt x="49" y="127"/>
                    </a:cubicBezTo>
                    <a:cubicBezTo>
                      <a:pt x="39" y="108"/>
                      <a:pt x="34" y="86"/>
                      <a:pt x="25" y="67"/>
                    </a:cubicBezTo>
                    <a:cubicBezTo>
                      <a:pt x="18" y="53"/>
                      <a:pt x="0" y="32"/>
                      <a:pt x="7" y="15"/>
                    </a:cubicBezTo>
                    <a:cubicBezTo>
                      <a:pt x="14" y="0"/>
                      <a:pt x="61" y="1"/>
                      <a:pt x="92" y="2"/>
                    </a:cubicBezTo>
                    <a:cubicBezTo>
                      <a:pt x="101" y="3"/>
                      <a:pt x="109" y="3"/>
                      <a:pt x="114" y="3"/>
                    </a:cubicBezTo>
                    <a:cubicBezTo>
                      <a:pt x="196" y="2"/>
                      <a:pt x="278" y="5"/>
                      <a:pt x="361" y="10"/>
                    </a:cubicBezTo>
                    <a:cubicBezTo>
                      <a:pt x="525" y="21"/>
                      <a:pt x="688" y="43"/>
                      <a:pt x="851" y="65"/>
                    </a:cubicBezTo>
                    <a:cubicBezTo>
                      <a:pt x="856" y="65"/>
                      <a:pt x="861" y="66"/>
                      <a:pt x="865" y="67"/>
                    </a:cubicBezTo>
                    <a:cubicBezTo>
                      <a:pt x="931" y="75"/>
                      <a:pt x="994" y="85"/>
                      <a:pt x="1055" y="95"/>
                    </a:cubicBezTo>
                    <a:cubicBezTo>
                      <a:pt x="1235" y="124"/>
                      <a:pt x="1389" y="157"/>
                      <a:pt x="1450" y="183"/>
                    </a:cubicBezTo>
                    <a:cubicBezTo>
                      <a:pt x="1623" y="256"/>
                      <a:pt x="1802" y="347"/>
                      <a:pt x="1733" y="524"/>
                    </a:cubicBezTo>
                    <a:cubicBezTo>
                      <a:pt x="1683" y="653"/>
                      <a:pt x="1520" y="713"/>
                      <a:pt x="1362" y="752"/>
                    </a:cubicBezTo>
                    <a:cubicBezTo>
                      <a:pt x="1249" y="780"/>
                      <a:pt x="990" y="833"/>
                      <a:pt x="933" y="921"/>
                    </a:cubicBezTo>
                    <a:cubicBezTo>
                      <a:pt x="905" y="964"/>
                      <a:pt x="918" y="1018"/>
                      <a:pt x="958" y="1052"/>
                    </a:cubicBezTo>
                    <a:cubicBezTo>
                      <a:pt x="1055" y="1133"/>
                      <a:pt x="1308" y="1132"/>
                      <a:pt x="1477" y="1131"/>
                    </a:cubicBezTo>
                    <a:cubicBezTo>
                      <a:pt x="1505" y="1131"/>
                      <a:pt x="1530" y="1131"/>
                      <a:pt x="1552" y="1131"/>
                    </a:cubicBezTo>
                    <a:cubicBezTo>
                      <a:pt x="1618" y="1132"/>
                      <a:pt x="1684" y="1130"/>
                      <a:pt x="1751" y="1129"/>
                    </a:cubicBezTo>
                    <a:cubicBezTo>
                      <a:pt x="1849" y="1126"/>
                      <a:pt x="1947" y="1123"/>
                      <a:pt x="2044" y="1128"/>
                    </a:cubicBezTo>
                    <a:cubicBezTo>
                      <a:pt x="2836" y="1171"/>
                      <a:pt x="3481" y="1598"/>
                      <a:pt x="3624" y="2178"/>
                    </a:cubicBezTo>
                    <a:cubicBezTo>
                      <a:pt x="3630" y="2203"/>
                      <a:pt x="3637" y="2233"/>
                      <a:pt x="3643" y="2265"/>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72"/>
              <p:cNvSpPr>
                <a:spLocks/>
              </p:cNvSpPr>
              <p:nvPr/>
            </p:nvSpPr>
            <p:spPr bwMode="auto">
              <a:xfrm>
                <a:off x="-285249" y="1100982"/>
                <a:ext cx="7401525" cy="6567444"/>
              </a:xfrm>
              <a:custGeom>
                <a:avLst/>
                <a:gdLst>
                  <a:gd name="T0" fmla="*/ 3643 w 3657"/>
                  <a:gd name="T1" fmla="*/ 2270 h 3243"/>
                  <a:gd name="T2" fmla="*/ 3625 w 3657"/>
                  <a:gd name="T3" fmla="*/ 2400 h 3243"/>
                  <a:gd name="T4" fmla="*/ 3619 w 3657"/>
                  <a:gd name="T5" fmla="*/ 2450 h 3243"/>
                  <a:gd name="T6" fmla="*/ 3653 w 3657"/>
                  <a:gd name="T7" fmla="*/ 2942 h 3243"/>
                  <a:gd name="T8" fmla="*/ 3644 w 3657"/>
                  <a:gd name="T9" fmla="*/ 3023 h 3243"/>
                  <a:gd name="T10" fmla="*/ 3583 w 3657"/>
                  <a:gd name="T11" fmla="*/ 3010 h 3243"/>
                  <a:gd name="T12" fmla="*/ 3514 w 3657"/>
                  <a:gd name="T13" fmla="*/ 2986 h 3243"/>
                  <a:gd name="T14" fmla="*/ 3361 w 3657"/>
                  <a:gd name="T15" fmla="*/ 3018 h 3243"/>
                  <a:gd name="T16" fmla="*/ 3118 w 3657"/>
                  <a:gd name="T17" fmla="*/ 3114 h 3243"/>
                  <a:gd name="T18" fmla="*/ 3066 w 3657"/>
                  <a:gd name="T19" fmla="*/ 3100 h 3243"/>
                  <a:gd name="T20" fmla="*/ 3023 w 3657"/>
                  <a:gd name="T21" fmla="*/ 3073 h 3243"/>
                  <a:gd name="T22" fmla="*/ 2804 w 3657"/>
                  <a:gd name="T23" fmla="*/ 3059 h 3243"/>
                  <a:gd name="T24" fmla="*/ 2732 w 3657"/>
                  <a:gd name="T25" fmla="*/ 3090 h 3243"/>
                  <a:gd name="T26" fmla="*/ 2197 w 3657"/>
                  <a:gd name="T27" fmla="*/ 2964 h 3243"/>
                  <a:gd name="T28" fmla="*/ 1900 w 3657"/>
                  <a:gd name="T29" fmla="*/ 2968 h 3243"/>
                  <a:gd name="T30" fmla="*/ 1829 w 3657"/>
                  <a:gd name="T31" fmla="*/ 2973 h 3243"/>
                  <a:gd name="T32" fmla="*/ 1696 w 3657"/>
                  <a:gd name="T33" fmla="*/ 2906 h 3243"/>
                  <a:gd name="T34" fmla="*/ 2030 w 3657"/>
                  <a:gd name="T35" fmla="*/ 2646 h 3243"/>
                  <a:gd name="T36" fmla="*/ 2094 w 3657"/>
                  <a:gd name="T37" fmla="*/ 2592 h 3243"/>
                  <a:gd name="T38" fmla="*/ 2154 w 3657"/>
                  <a:gd name="T39" fmla="*/ 2535 h 3243"/>
                  <a:gd name="T40" fmla="*/ 2292 w 3657"/>
                  <a:gd name="T41" fmla="*/ 2335 h 3243"/>
                  <a:gd name="T42" fmla="*/ 2324 w 3657"/>
                  <a:gd name="T43" fmla="*/ 2254 h 3243"/>
                  <a:gd name="T44" fmla="*/ 2349 w 3657"/>
                  <a:gd name="T45" fmla="*/ 1871 h 3243"/>
                  <a:gd name="T46" fmla="*/ 1824 w 3657"/>
                  <a:gd name="T47" fmla="*/ 1553 h 3243"/>
                  <a:gd name="T48" fmla="*/ 1060 w 3657"/>
                  <a:gd name="T49" fmla="*/ 1497 h 3243"/>
                  <a:gd name="T50" fmla="*/ 263 w 3657"/>
                  <a:gd name="T51" fmla="*/ 1133 h 3243"/>
                  <a:gd name="T52" fmla="*/ 258 w 3657"/>
                  <a:gd name="T53" fmla="*/ 1002 h 3243"/>
                  <a:gd name="T54" fmla="*/ 317 w 3657"/>
                  <a:gd name="T55" fmla="*/ 886 h 3243"/>
                  <a:gd name="T56" fmla="*/ 738 w 3657"/>
                  <a:gd name="T57" fmla="*/ 636 h 3243"/>
                  <a:gd name="T58" fmla="*/ 915 w 3657"/>
                  <a:gd name="T59" fmla="*/ 581 h 3243"/>
                  <a:gd name="T60" fmla="*/ 1225 w 3657"/>
                  <a:gd name="T61" fmla="*/ 409 h 3243"/>
                  <a:gd name="T62" fmla="*/ 1170 w 3657"/>
                  <a:gd name="T63" fmla="*/ 350 h 3243"/>
                  <a:gd name="T64" fmla="*/ 772 w 3657"/>
                  <a:gd name="T65" fmla="*/ 264 h 3243"/>
                  <a:gd name="T66" fmla="*/ 335 w 3657"/>
                  <a:gd name="T67" fmla="*/ 243 h 3243"/>
                  <a:gd name="T68" fmla="*/ 78 w 3657"/>
                  <a:gd name="T69" fmla="*/ 232 h 3243"/>
                  <a:gd name="T70" fmla="*/ 49 w 3657"/>
                  <a:gd name="T71" fmla="*/ 132 h 3243"/>
                  <a:gd name="T72" fmla="*/ 25 w 3657"/>
                  <a:gd name="T73" fmla="*/ 72 h 3243"/>
                  <a:gd name="T74" fmla="*/ 7 w 3657"/>
                  <a:gd name="T75" fmla="*/ 20 h 3243"/>
                  <a:gd name="T76" fmla="*/ 114 w 3657"/>
                  <a:gd name="T77" fmla="*/ 8 h 3243"/>
                  <a:gd name="T78" fmla="*/ 361 w 3657"/>
                  <a:gd name="T79" fmla="*/ 15 h 3243"/>
                  <a:gd name="T80" fmla="*/ 851 w 3657"/>
                  <a:gd name="T81" fmla="*/ 70 h 3243"/>
                  <a:gd name="T82" fmla="*/ 865 w 3657"/>
                  <a:gd name="T83" fmla="*/ 72 h 3243"/>
                  <a:gd name="T84" fmla="*/ 1055 w 3657"/>
                  <a:gd name="T85" fmla="*/ 100 h 3243"/>
                  <a:gd name="T86" fmla="*/ 1450 w 3657"/>
                  <a:gd name="T87" fmla="*/ 187 h 3243"/>
                  <a:gd name="T88" fmla="*/ 1733 w 3657"/>
                  <a:gd name="T89" fmla="*/ 529 h 3243"/>
                  <a:gd name="T90" fmla="*/ 1362 w 3657"/>
                  <a:gd name="T91" fmla="*/ 757 h 3243"/>
                  <a:gd name="T92" fmla="*/ 933 w 3657"/>
                  <a:gd name="T93" fmla="*/ 926 h 3243"/>
                  <a:gd name="T94" fmla="*/ 958 w 3657"/>
                  <a:gd name="T95" fmla="*/ 1057 h 3243"/>
                  <a:gd name="T96" fmla="*/ 1552 w 3657"/>
                  <a:gd name="T97" fmla="*/ 1136 h 3243"/>
                  <a:gd name="T98" fmla="*/ 2044 w 3657"/>
                  <a:gd name="T99" fmla="*/ 1133 h 3243"/>
                  <a:gd name="T100" fmla="*/ 3624 w 3657"/>
                  <a:gd name="T101" fmla="*/ 2183 h 3243"/>
                  <a:gd name="T102" fmla="*/ 3643 w 3657"/>
                  <a:gd name="T103" fmla="*/ 227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57" h="3243">
                    <a:moveTo>
                      <a:pt x="3643" y="2270"/>
                    </a:moveTo>
                    <a:cubicBezTo>
                      <a:pt x="3643" y="2270"/>
                      <a:pt x="3635" y="2325"/>
                      <a:pt x="3625" y="2400"/>
                    </a:cubicBezTo>
                    <a:cubicBezTo>
                      <a:pt x="3623" y="2416"/>
                      <a:pt x="3621" y="2432"/>
                      <a:pt x="3619" y="2450"/>
                    </a:cubicBezTo>
                    <a:cubicBezTo>
                      <a:pt x="3587" y="2612"/>
                      <a:pt x="3643" y="2774"/>
                      <a:pt x="3653" y="2942"/>
                    </a:cubicBezTo>
                    <a:cubicBezTo>
                      <a:pt x="3655" y="2972"/>
                      <a:pt x="3657" y="3005"/>
                      <a:pt x="3644" y="3023"/>
                    </a:cubicBezTo>
                    <a:cubicBezTo>
                      <a:pt x="3635" y="3037"/>
                      <a:pt x="3603" y="3019"/>
                      <a:pt x="3583" y="3010"/>
                    </a:cubicBezTo>
                    <a:cubicBezTo>
                      <a:pt x="3560" y="3001"/>
                      <a:pt x="3537" y="2992"/>
                      <a:pt x="3514" y="2986"/>
                    </a:cubicBezTo>
                    <a:cubicBezTo>
                      <a:pt x="3458" y="2972"/>
                      <a:pt x="3408" y="2993"/>
                      <a:pt x="3361" y="3018"/>
                    </a:cubicBezTo>
                    <a:cubicBezTo>
                      <a:pt x="3281" y="3063"/>
                      <a:pt x="3207" y="3123"/>
                      <a:pt x="3118" y="3114"/>
                    </a:cubicBezTo>
                    <a:cubicBezTo>
                      <a:pt x="3099" y="3113"/>
                      <a:pt x="3082" y="3108"/>
                      <a:pt x="3066" y="3100"/>
                    </a:cubicBezTo>
                    <a:cubicBezTo>
                      <a:pt x="3050" y="3093"/>
                      <a:pt x="3036" y="3084"/>
                      <a:pt x="3023" y="3073"/>
                    </a:cubicBezTo>
                    <a:cubicBezTo>
                      <a:pt x="2949" y="3025"/>
                      <a:pt x="2876" y="3033"/>
                      <a:pt x="2804" y="3059"/>
                    </a:cubicBezTo>
                    <a:cubicBezTo>
                      <a:pt x="2779" y="3068"/>
                      <a:pt x="2755" y="3079"/>
                      <a:pt x="2732" y="3090"/>
                    </a:cubicBezTo>
                    <a:cubicBezTo>
                      <a:pt x="2552" y="3243"/>
                      <a:pt x="2332" y="3167"/>
                      <a:pt x="2197" y="2964"/>
                    </a:cubicBezTo>
                    <a:cubicBezTo>
                      <a:pt x="2137" y="2877"/>
                      <a:pt x="1997" y="2942"/>
                      <a:pt x="1900" y="2968"/>
                    </a:cubicBezTo>
                    <a:cubicBezTo>
                      <a:pt x="1876" y="2973"/>
                      <a:pt x="1852" y="2975"/>
                      <a:pt x="1829" y="2973"/>
                    </a:cubicBezTo>
                    <a:cubicBezTo>
                      <a:pt x="1782" y="2969"/>
                      <a:pt x="1738" y="2950"/>
                      <a:pt x="1696" y="2906"/>
                    </a:cubicBezTo>
                    <a:cubicBezTo>
                      <a:pt x="1798" y="2814"/>
                      <a:pt x="1920" y="2734"/>
                      <a:pt x="2030" y="2646"/>
                    </a:cubicBezTo>
                    <a:cubicBezTo>
                      <a:pt x="2052" y="2628"/>
                      <a:pt x="2073" y="2610"/>
                      <a:pt x="2094" y="2592"/>
                    </a:cubicBezTo>
                    <a:cubicBezTo>
                      <a:pt x="2115" y="2573"/>
                      <a:pt x="2135" y="2554"/>
                      <a:pt x="2154" y="2535"/>
                    </a:cubicBezTo>
                    <a:cubicBezTo>
                      <a:pt x="2211" y="2476"/>
                      <a:pt x="2259" y="2411"/>
                      <a:pt x="2292" y="2335"/>
                    </a:cubicBezTo>
                    <a:cubicBezTo>
                      <a:pt x="2304" y="2308"/>
                      <a:pt x="2315" y="2281"/>
                      <a:pt x="2324" y="2254"/>
                    </a:cubicBezTo>
                    <a:cubicBezTo>
                      <a:pt x="2373" y="2119"/>
                      <a:pt x="2388" y="1978"/>
                      <a:pt x="2349" y="1871"/>
                    </a:cubicBezTo>
                    <a:cubicBezTo>
                      <a:pt x="2274" y="1659"/>
                      <a:pt x="2096" y="1584"/>
                      <a:pt x="1824" y="1553"/>
                    </a:cubicBezTo>
                    <a:cubicBezTo>
                      <a:pt x="1572" y="1524"/>
                      <a:pt x="1312" y="1528"/>
                      <a:pt x="1060" y="1497"/>
                    </a:cubicBezTo>
                    <a:cubicBezTo>
                      <a:pt x="771" y="1461"/>
                      <a:pt x="342" y="1387"/>
                      <a:pt x="263" y="1133"/>
                    </a:cubicBezTo>
                    <a:cubicBezTo>
                      <a:pt x="249" y="1087"/>
                      <a:pt x="248" y="1043"/>
                      <a:pt x="258" y="1002"/>
                    </a:cubicBezTo>
                    <a:cubicBezTo>
                      <a:pt x="268" y="961"/>
                      <a:pt x="289" y="922"/>
                      <a:pt x="317" y="886"/>
                    </a:cubicBezTo>
                    <a:cubicBezTo>
                      <a:pt x="426" y="761"/>
                      <a:pt x="582" y="689"/>
                      <a:pt x="738" y="636"/>
                    </a:cubicBezTo>
                    <a:cubicBezTo>
                      <a:pt x="796" y="615"/>
                      <a:pt x="856" y="598"/>
                      <a:pt x="915" y="581"/>
                    </a:cubicBezTo>
                    <a:cubicBezTo>
                      <a:pt x="985" y="561"/>
                      <a:pt x="1261" y="516"/>
                      <a:pt x="1225" y="409"/>
                    </a:cubicBezTo>
                    <a:cubicBezTo>
                      <a:pt x="1216" y="383"/>
                      <a:pt x="1195" y="363"/>
                      <a:pt x="1170" y="350"/>
                    </a:cubicBezTo>
                    <a:cubicBezTo>
                      <a:pt x="1049" y="289"/>
                      <a:pt x="907" y="273"/>
                      <a:pt x="772" y="264"/>
                    </a:cubicBezTo>
                    <a:cubicBezTo>
                      <a:pt x="627" y="254"/>
                      <a:pt x="481" y="249"/>
                      <a:pt x="335" y="243"/>
                    </a:cubicBezTo>
                    <a:cubicBezTo>
                      <a:pt x="316" y="242"/>
                      <a:pt x="78" y="218"/>
                      <a:pt x="78" y="232"/>
                    </a:cubicBezTo>
                    <a:cubicBezTo>
                      <a:pt x="77" y="192"/>
                      <a:pt x="66" y="168"/>
                      <a:pt x="49" y="132"/>
                    </a:cubicBezTo>
                    <a:cubicBezTo>
                      <a:pt x="39" y="113"/>
                      <a:pt x="34" y="91"/>
                      <a:pt x="25" y="72"/>
                    </a:cubicBezTo>
                    <a:cubicBezTo>
                      <a:pt x="18" y="58"/>
                      <a:pt x="0" y="37"/>
                      <a:pt x="7" y="20"/>
                    </a:cubicBezTo>
                    <a:cubicBezTo>
                      <a:pt x="16" y="0"/>
                      <a:pt x="93" y="8"/>
                      <a:pt x="114" y="8"/>
                    </a:cubicBezTo>
                    <a:cubicBezTo>
                      <a:pt x="196" y="7"/>
                      <a:pt x="278" y="9"/>
                      <a:pt x="361" y="15"/>
                    </a:cubicBezTo>
                    <a:cubicBezTo>
                      <a:pt x="525" y="26"/>
                      <a:pt x="688" y="48"/>
                      <a:pt x="851" y="70"/>
                    </a:cubicBezTo>
                    <a:cubicBezTo>
                      <a:pt x="856" y="70"/>
                      <a:pt x="861" y="71"/>
                      <a:pt x="865" y="72"/>
                    </a:cubicBezTo>
                    <a:cubicBezTo>
                      <a:pt x="931" y="80"/>
                      <a:pt x="994" y="90"/>
                      <a:pt x="1055" y="100"/>
                    </a:cubicBezTo>
                    <a:cubicBezTo>
                      <a:pt x="1235" y="129"/>
                      <a:pt x="1389" y="162"/>
                      <a:pt x="1450" y="187"/>
                    </a:cubicBezTo>
                    <a:cubicBezTo>
                      <a:pt x="1623" y="261"/>
                      <a:pt x="1802" y="352"/>
                      <a:pt x="1733" y="529"/>
                    </a:cubicBezTo>
                    <a:cubicBezTo>
                      <a:pt x="1683" y="657"/>
                      <a:pt x="1520" y="718"/>
                      <a:pt x="1362" y="757"/>
                    </a:cubicBezTo>
                    <a:cubicBezTo>
                      <a:pt x="1249" y="785"/>
                      <a:pt x="990" y="838"/>
                      <a:pt x="933" y="926"/>
                    </a:cubicBezTo>
                    <a:cubicBezTo>
                      <a:pt x="905" y="969"/>
                      <a:pt x="918" y="1023"/>
                      <a:pt x="958" y="1057"/>
                    </a:cubicBezTo>
                    <a:cubicBezTo>
                      <a:pt x="1070" y="1151"/>
                      <a:pt x="1393" y="1135"/>
                      <a:pt x="1552" y="1136"/>
                    </a:cubicBezTo>
                    <a:cubicBezTo>
                      <a:pt x="1715" y="1138"/>
                      <a:pt x="1882" y="1125"/>
                      <a:pt x="2044" y="1133"/>
                    </a:cubicBezTo>
                    <a:cubicBezTo>
                      <a:pt x="2836" y="1176"/>
                      <a:pt x="3481" y="1603"/>
                      <a:pt x="3624" y="2183"/>
                    </a:cubicBezTo>
                    <a:cubicBezTo>
                      <a:pt x="3630" y="2208"/>
                      <a:pt x="3637" y="2238"/>
                      <a:pt x="3643" y="2270"/>
                    </a:cubicBezTo>
                    <a:close/>
                  </a:path>
                </a:pathLst>
              </a:custGeom>
              <a:solidFill>
                <a:schemeClr val="tx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73"/>
              <p:cNvSpPr>
                <a:spLocks/>
              </p:cNvSpPr>
              <p:nvPr/>
            </p:nvSpPr>
            <p:spPr bwMode="auto">
              <a:xfrm>
                <a:off x="-322072" y="1032473"/>
                <a:ext cx="7496581" cy="6566588"/>
              </a:xfrm>
              <a:custGeom>
                <a:avLst/>
                <a:gdLst>
                  <a:gd name="T0" fmla="*/ 3666 w 3704"/>
                  <a:gd name="T1" fmla="*/ 2260 h 3243"/>
                  <a:gd name="T2" fmla="*/ 3636 w 3704"/>
                  <a:gd name="T3" fmla="*/ 2488 h 3243"/>
                  <a:gd name="T4" fmla="*/ 3629 w 3704"/>
                  <a:gd name="T5" fmla="*/ 2551 h 3243"/>
                  <a:gd name="T6" fmla="*/ 3626 w 3704"/>
                  <a:gd name="T7" fmla="*/ 2635 h 3243"/>
                  <a:gd name="T8" fmla="*/ 3656 w 3704"/>
                  <a:gd name="T9" fmla="*/ 3016 h 3243"/>
                  <a:gd name="T10" fmla="*/ 3615 w 3704"/>
                  <a:gd name="T11" fmla="*/ 3009 h 3243"/>
                  <a:gd name="T12" fmla="*/ 3551 w 3704"/>
                  <a:gd name="T13" fmla="*/ 2983 h 3243"/>
                  <a:gd name="T14" fmla="*/ 3440 w 3704"/>
                  <a:gd name="T15" fmla="*/ 2989 h 3243"/>
                  <a:gd name="T16" fmla="*/ 3145 w 3704"/>
                  <a:gd name="T17" fmla="*/ 3105 h 3243"/>
                  <a:gd name="T18" fmla="*/ 3073 w 3704"/>
                  <a:gd name="T19" fmla="*/ 3085 h 3243"/>
                  <a:gd name="T20" fmla="*/ 2826 w 3704"/>
                  <a:gd name="T21" fmla="*/ 3050 h 3243"/>
                  <a:gd name="T22" fmla="*/ 2771 w 3704"/>
                  <a:gd name="T23" fmla="*/ 3072 h 3243"/>
                  <a:gd name="T24" fmla="*/ 2386 w 3704"/>
                  <a:gd name="T25" fmla="*/ 3139 h 3243"/>
                  <a:gd name="T26" fmla="*/ 2262 w 3704"/>
                  <a:gd name="T27" fmla="*/ 2952 h 3243"/>
                  <a:gd name="T28" fmla="*/ 1897 w 3704"/>
                  <a:gd name="T29" fmla="*/ 2970 h 3243"/>
                  <a:gd name="T30" fmla="*/ 1813 w 3704"/>
                  <a:gd name="T31" fmla="*/ 2969 h 3243"/>
                  <a:gd name="T32" fmla="*/ 1745 w 3704"/>
                  <a:gd name="T33" fmla="*/ 2907 h 3243"/>
                  <a:gd name="T34" fmla="*/ 2373 w 3704"/>
                  <a:gd name="T35" fmla="*/ 1861 h 3243"/>
                  <a:gd name="T36" fmla="*/ 1848 w 3704"/>
                  <a:gd name="T37" fmla="*/ 1543 h 3243"/>
                  <a:gd name="T38" fmla="*/ 1084 w 3704"/>
                  <a:gd name="T39" fmla="*/ 1487 h 3243"/>
                  <a:gd name="T40" fmla="*/ 287 w 3704"/>
                  <a:gd name="T41" fmla="*/ 1123 h 3243"/>
                  <a:gd name="T42" fmla="*/ 282 w 3704"/>
                  <a:gd name="T43" fmla="*/ 992 h 3243"/>
                  <a:gd name="T44" fmla="*/ 734 w 3704"/>
                  <a:gd name="T45" fmla="*/ 632 h 3243"/>
                  <a:gd name="T46" fmla="*/ 1252 w 3704"/>
                  <a:gd name="T47" fmla="*/ 396 h 3243"/>
                  <a:gd name="T48" fmla="*/ 851 w 3704"/>
                  <a:gd name="T49" fmla="*/ 253 h 3243"/>
                  <a:gd name="T50" fmla="*/ 173 w 3704"/>
                  <a:gd name="T51" fmla="*/ 204 h 3243"/>
                  <a:gd name="T52" fmla="*/ 94 w 3704"/>
                  <a:gd name="T53" fmla="*/ 202 h 3243"/>
                  <a:gd name="T54" fmla="*/ 49 w 3704"/>
                  <a:gd name="T55" fmla="*/ 93 h 3243"/>
                  <a:gd name="T56" fmla="*/ 0 w 3704"/>
                  <a:gd name="T57" fmla="*/ 4 h 3243"/>
                  <a:gd name="T58" fmla="*/ 216 w 3704"/>
                  <a:gd name="T59" fmla="*/ 2 h 3243"/>
                  <a:gd name="T60" fmla="*/ 832 w 3704"/>
                  <a:gd name="T61" fmla="*/ 45 h 3243"/>
                  <a:gd name="T62" fmla="*/ 1346 w 3704"/>
                  <a:gd name="T63" fmla="*/ 131 h 3243"/>
                  <a:gd name="T64" fmla="*/ 1729 w 3704"/>
                  <a:gd name="T65" fmla="*/ 322 h 3243"/>
                  <a:gd name="T66" fmla="*/ 1756 w 3704"/>
                  <a:gd name="T67" fmla="*/ 519 h 3243"/>
                  <a:gd name="T68" fmla="*/ 1386 w 3704"/>
                  <a:gd name="T69" fmla="*/ 747 h 3243"/>
                  <a:gd name="T70" fmla="*/ 957 w 3704"/>
                  <a:gd name="T71" fmla="*/ 916 h 3243"/>
                  <a:gd name="T72" fmla="*/ 982 w 3704"/>
                  <a:gd name="T73" fmla="*/ 1047 h 3243"/>
                  <a:gd name="T74" fmla="*/ 1575 w 3704"/>
                  <a:gd name="T75" fmla="*/ 1127 h 3243"/>
                  <a:gd name="T76" fmla="*/ 2067 w 3704"/>
                  <a:gd name="T77" fmla="*/ 1124 h 3243"/>
                  <a:gd name="T78" fmla="*/ 3648 w 3704"/>
                  <a:gd name="T79" fmla="*/ 2173 h 3243"/>
                  <a:gd name="T80" fmla="*/ 3666 w 3704"/>
                  <a:gd name="T81"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04" h="3243">
                    <a:moveTo>
                      <a:pt x="3666" y="2260"/>
                    </a:moveTo>
                    <a:cubicBezTo>
                      <a:pt x="3666" y="2260"/>
                      <a:pt x="3652" y="2367"/>
                      <a:pt x="3636" y="2488"/>
                    </a:cubicBezTo>
                    <a:cubicBezTo>
                      <a:pt x="3633" y="2511"/>
                      <a:pt x="3631" y="2530"/>
                      <a:pt x="3629" y="2551"/>
                    </a:cubicBezTo>
                    <a:cubicBezTo>
                      <a:pt x="3622" y="2578"/>
                      <a:pt x="3628" y="2609"/>
                      <a:pt x="3626" y="2635"/>
                    </a:cubicBezTo>
                    <a:cubicBezTo>
                      <a:pt x="3635" y="2765"/>
                      <a:pt x="3704" y="2898"/>
                      <a:pt x="3656" y="3016"/>
                    </a:cubicBezTo>
                    <a:cubicBezTo>
                      <a:pt x="3654" y="3022"/>
                      <a:pt x="3636" y="3017"/>
                      <a:pt x="3615" y="3009"/>
                    </a:cubicBezTo>
                    <a:cubicBezTo>
                      <a:pt x="3594" y="3001"/>
                      <a:pt x="3569" y="2990"/>
                      <a:pt x="3551" y="2983"/>
                    </a:cubicBezTo>
                    <a:cubicBezTo>
                      <a:pt x="3515" y="2970"/>
                      <a:pt x="3474" y="2977"/>
                      <a:pt x="3440" y="2989"/>
                    </a:cubicBezTo>
                    <a:cubicBezTo>
                      <a:pt x="3351" y="3022"/>
                      <a:pt x="3242" y="3109"/>
                      <a:pt x="3145" y="3105"/>
                    </a:cubicBezTo>
                    <a:cubicBezTo>
                      <a:pt x="3121" y="3105"/>
                      <a:pt x="3097" y="3098"/>
                      <a:pt x="3073" y="3085"/>
                    </a:cubicBezTo>
                    <a:cubicBezTo>
                      <a:pt x="2999" y="3033"/>
                      <a:pt x="2910" y="3021"/>
                      <a:pt x="2826" y="3050"/>
                    </a:cubicBezTo>
                    <a:cubicBezTo>
                      <a:pt x="2808" y="3056"/>
                      <a:pt x="2790" y="3063"/>
                      <a:pt x="2771" y="3072"/>
                    </a:cubicBezTo>
                    <a:cubicBezTo>
                      <a:pt x="2661" y="3127"/>
                      <a:pt x="2507" y="3243"/>
                      <a:pt x="2386" y="3139"/>
                    </a:cubicBezTo>
                    <a:cubicBezTo>
                      <a:pt x="2324" y="3088"/>
                      <a:pt x="2321" y="3002"/>
                      <a:pt x="2262" y="2952"/>
                    </a:cubicBezTo>
                    <a:cubicBezTo>
                      <a:pt x="2153" y="2864"/>
                      <a:pt x="2013" y="2936"/>
                      <a:pt x="1897" y="2970"/>
                    </a:cubicBezTo>
                    <a:cubicBezTo>
                      <a:pt x="1868" y="2973"/>
                      <a:pt x="1839" y="2973"/>
                      <a:pt x="1813" y="2969"/>
                    </a:cubicBezTo>
                    <a:cubicBezTo>
                      <a:pt x="1762" y="2961"/>
                      <a:pt x="1726" y="2939"/>
                      <a:pt x="1745" y="2907"/>
                    </a:cubicBezTo>
                    <a:cubicBezTo>
                      <a:pt x="1825" y="2769"/>
                      <a:pt x="2556" y="2259"/>
                      <a:pt x="2373" y="1861"/>
                    </a:cubicBezTo>
                    <a:cubicBezTo>
                      <a:pt x="2279" y="1657"/>
                      <a:pt x="2119" y="1574"/>
                      <a:pt x="1848" y="1543"/>
                    </a:cubicBezTo>
                    <a:cubicBezTo>
                      <a:pt x="1596" y="1514"/>
                      <a:pt x="1336" y="1518"/>
                      <a:pt x="1084" y="1487"/>
                    </a:cubicBezTo>
                    <a:cubicBezTo>
                      <a:pt x="795" y="1451"/>
                      <a:pt x="366" y="1377"/>
                      <a:pt x="287" y="1123"/>
                    </a:cubicBezTo>
                    <a:cubicBezTo>
                      <a:pt x="273" y="1077"/>
                      <a:pt x="272" y="1034"/>
                      <a:pt x="282" y="992"/>
                    </a:cubicBezTo>
                    <a:cubicBezTo>
                      <a:pt x="329" y="794"/>
                      <a:pt x="555" y="678"/>
                      <a:pt x="734" y="632"/>
                    </a:cubicBezTo>
                    <a:cubicBezTo>
                      <a:pt x="825" y="608"/>
                      <a:pt x="1300" y="526"/>
                      <a:pt x="1252" y="396"/>
                    </a:cubicBezTo>
                    <a:cubicBezTo>
                      <a:pt x="1205" y="269"/>
                      <a:pt x="959" y="263"/>
                      <a:pt x="851" y="253"/>
                    </a:cubicBezTo>
                    <a:cubicBezTo>
                      <a:pt x="624" y="234"/>
                      <a:pt x="398" y="230"/>
                      <a:pt x="173" y="204"/>
                    </a:cubicBezTo>
                    <a:cubicBezTo>
                      <a:pt x="148" y="202"/>
                      <a:pt x="118" y="193"/>
                      <a:pt x="94" y="202"/>
                    </a:cubicBezTo>
                    <a:cubicBezTo>
                      <a:pt x="86" y="166"/>
                      <a:pt x="73" y="122"/>
                      <a:pt x="49" y="93"/>
                    </a:cubicBezTo>
                    <a:cubicBezTo>
                      <a:pt x="26" y="65"/>
                      <a:pt x="9" y="41"/>
                      <a:pt x="0" y="4"/>
                    </a:cubicBezTo>
                    <a:cubicBezTo>
                      <a:pt x="71" y="0"/>
                      <a:pt x="144" y="0"/>
                      <a:pt x="216" y="2"/>
                    </a:cubicBezTo>
                    <a:cubicBezTo>
                      <a:pt x="422" y="7"/>
                      <a:pt x="627" y="23"/>
                      <a:pt x="832" y="45"/>
                    </a:cubicBezTo>
                    <a:cubicBezTo>
                      <a:pt x="1004" y="64"/>
                      <a:pt x="1177" y="88"/>
                      <a:pt x="1346" y="131"/>
                    </a:cubicBezTo>
                    <a:cubicBezTo>
                      <a:pt x="1477" y="165"/>
                      <a:pt x="1640" y="211"/>
                      <a:pt x="1729" y="322"/>
                    </a:cubicBezTo>
                    <a:cubicBezTo>
                      <a:pt x="1775" y="380"/>
                      <a:pt x="1783" y="451"/>
                      <a:pt x="1756" y="519"/>
                    </a:cubicBezTo>
                    <a:cubicBezTo>
                      <a:pt x="1706" y="648"/>
                      <a:pt x="1543" y="708"/>
                      <a:pt x="1386" y="747"/>
                    </a:cubicBezTo>
                    <a:cubicBezTo>
                      <a:pt x="1272" y="776"/>
                      <a:pt x="1013" y="828"/>
                      <a:pt x="957" y="916"/>
                    </a:cubicBezTo>
                    <a:cubicBezTo>
                      <a:pt x="929" y="959"/>
                      <a:pt x="941" y="1013"/>
                      <a:pt x="982" y="1047"/>
                    </a:cubicBezTo>
                    <a:cubicBezTo>
                      <a:pt x="1094" y="1141"/>
                      <a:pt x="1417" y="1125"/>
                      <a:pt x="1575" y="1127"/>
                    </a:cubicBezTo>
                    <a:cubicBezTo>
                      <a:pt x="1738" y="1128"/>
                      <a:pt x="1905" y="1115"/>
                      <a:pt x="2067" y="1124"/>
                    </a:cubicBezTo>
                    <a:cubicBezTo>
                      <a:pt x="2859" y="1166"/>
                      <a:pt x="3504" y="1593"/>
                      <a:pt x="3648" y="2173"/>
                    </a:cubicBezTo>
                    <a:cubicBezTo>
                      <a:pt x="3654" y="2198"/>
                      <a:pt x="3660" y="2228"/>
                      <a:pt x="3666" y="2260"/>
                    </a:cubicBez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74"/>
              <p:cNvSpPr>
                <a:spLocks/>
              </p:cNvSpPr>
              <p:nvPr/>
            </p:nvSpPr>
            <p:spPr bwMode="auto">
              <a:xfrm>
                <a:off x="-322072" y="1008495"/>
                <a:ext cx="7496581" cy="6566588"/>
              </a:xfrm>
              <a:custGeom>
                <a:avLst/>
                <a:gdLst>
                  <a:gd name="T0" fmla="*/ 3666 w 3704"/>
                  <a:gd name="T1" fmla="*/ 2260 h 3243"/>
                  <a:gd name="T2" fmla="*/ 3636 w 3704"/>
                  <a:gd name="T3" fmla="*/ 2489 h 3243"/>
                  <a:gd name="T4" fmla="*/ 3629 w 3704"/>
                  <a:gd name="T5" fmla="*/ 2552 h 3243"/>
                  <a:gd name="T6" fmla="*/ 3626 w 3704"/>
                  <a:gd name="T7" fmla="*/ 2635 h 3243"/>
                  <a:gd name="T8" fmla="*/ 3656 w 3704"/>
                  <a:gd name="T9" fmla="*/ 3017 h 3243"/>
                  <a:gd name="T10" fmla="*/ 3615 w 3704"/>
                  <a:gd name="T11" fmla="*/ 3010 h 3243"/>
                  <a:gd name="T12" fmla="*/ 3551 w 3704"/>
                  <a:gd name="T13" fmla="*/ 2984 h 3243"/>
                  <a:gd name="T14" fmla="*/ 3440 w 3704"/>
                  <a:gd name="T15" fmla="*/ 2989 h 3243"/>
                  <a:gd name="T16" fmla="*/ 3145 w 3704"/>
                  <a:gd name="T17" fmla="*/ 3106 h 3243"/>
                  <a:gd name="T18" fmla="*/ 3073 w 3704"/>
                  <a:gd name="T19" fmla="*/ 3085 h 3243"/>
                  <a:gd name="T20" fmla="*/ 2826 w 3704"/>
                  <a:gd name="T21" fmla="*/ 3050 h 3243"/>
                  <a:gd name="T22" fmla="*/ 2771 w 3704"/>
                  <a:gd name="T23" fmla="*/ 3073 h 3243"/>
                  <a:gd name="T24" fmla="*/ 2386 w 3704"/>
                  <a:gd name="T25" fmla="*/ 3139 h 3243"/>
                  <a:gd name="T26" fmla="*/ 2262 w 3704"/>
                  <a:gd name="T27" fmla="*/ 2953 h 3243"/>
                  <a:gd name="T28" fmla="*/ 1897 w 3704"/>
                  <a:gd name="T29" fmla="*/ 2971 h 3243"/>
                  <a:gd name="T30" fmla="*/ 1813 w 3704"/>
                  <a:gd name="T31" fmla="*/ 2969 h 3243"/>
                  <a:gd name="T32" fmla="*/ 1745 w 3704"/>
                  <a:gd name="T33" fmla="*/ 2908 h 3243"/>
                  <a:gd name="T34" fmla="*/ 2373 w 3704"/>
                  <a:gd name="T35" fmla="*/ 1862 h 3243"/>
                  <a:gd name="T36" fmla="*/ 1848 w 3704"/>
                  <a:gd name="T37" fmla="*/ 1544 h 3243"/>
                  <a:gd name="T38" fmla="*/ 1084 w 3704"/>
                  <a:gd name="T39" fmla="*/ 1488 h 3243"/>
                  <a:gd name="T40" fmla="*/ 287 w 3704"/>
                  <a:gd name="T41" fmla="*/ 1124 h 3243"/>
                  <a:gd name="T42" fmla="*/ 282 w 3704"/>
                  <a:gd name="T43" fmla="*/ 993 h 3243"/>
                  <a:gd name="T44" fmla="*/ 307 w 3704"/>
                  <a:gd name="T45" fmla="*/ 922 h 3243"/>
                  <a:gd name="T46" fmla="*/ 352 w 3704"/>
                  <a:gd name="T47" fmla="*/ 861 h 3243"/>
                  <a:gd name="T48" fmla="*/ 1045 w 3704"/>
                  <a:gd name="T49" fmla="*/ 554 h 3243"/>
                  <a:gd name="T50" fmla="*/ 1133 w 3704"/>
                  <a:gd name="T51" fmla="*/ 522 h 3243"/>
                  <a:gd name="T52" fmla="*/ 1252 w 3704"/>
                  <a:gd name="T53" fmla="*/ 397 h 3243"/>
                  <a:gd name="T54" fmla="*/ 915 w 3704"/>
                  <a:gd name="T55" fmla="*/ 259 h 3243"/>
                  <a:gd name="T56" fmla="*/ 851 w 3704"/>
                  <a:gd name="T57" fmla="*/ 254 h 3243"/>
                  <a:gd name="T58" fmla="*/ 525 w 3704"/>
                  <a:gd name="T59" fmla="*/ 232 h 3243"/>
                  <a:gd name="T60" fmla="*/ 455 w 3704"/>
                  <a:gd name="T61" fmla="*/ 228 h 3243"/>
                  <a:gd name="T62" fmla="*/ 173 w 3704"/>
                  <a:gd name="T63" fmla="*/ 205 h 3243"/>
                  <a:gd name="T64" fmla="*/ 94 w 3704"/>
                  <a:gd name="T65" fmla="*/ 203 h 3243"/>
                  <a:gd name="T66" fmla="*/ 49 w 3704"/>
                  <a:gd name="T67" fmla="*/ 93 h 3243"/>
                  <a:gd name="T68" fmla="*/ 0 w 3704"/>
                  <a:gd name="T69" fmla="*/ 5 h 3243"/>
                  <a:gd name="T70" fmla="*/ 216 w 3704"/>
                  <a:gd name="T71" fmla="*/ 2 h 3243"/>
                  <a:gd name="T72" fmla="*/ 832 w 3704"/>
                  <a:gd name="T73" fmla="*/ 46 h 3243"/>
                  <a:gd name="T74" fmla="*/ 1346 w 3704"/>
                  <a:gd name="T75" fmla="*/ 132 h 3243"/>
                  <a:gd name="T76" fmla="*/ 1729 w 3704"/>
                  <a:gd name="T77" fmla="*/ 323 h 3243"/>
                  <a:gd name="T78" fmla="*/ 1756 w 3704"/>
                  <a:gd name="T79" fmla="*/ 519 h 3243"/>
                  <a:gd name="T80" fmla="*/ 1386 w 3704"/>
                  <a:gd name="T81" fmla="*/ 748 h 3243"/>
                  <a:gd name="T82" fmla="*/ 1068 w 3704"/>
                  <a:gd name="T83" fmla="*/ 840 h 3243"/>
                  <a:gd name="T84" fmla="*/ 1000 w 3704"/>
                  <a:gd name="T85" fmla="*/ 875 h 3243"/>
                  <a:gd name="T86" fmla="*/ 957 w 3704"/>
                  <a:gd name="T87" fmla="*/ 916 h 3243"/>
                  <a:gd name="T88" fmla="*/ 944 w 3704"/>
                  <a:gd name="T89" fmla="*/ 986 h 3243"/>
                  <a:gd name="T90" fmla="*/ 982 w 3704"/>
                  <a:gd name="T91" fmla="*/ 1048 h 3243"/>
                  <a:gd name="T92" fmla="*/ 1575 w 3704"/>
                  <a:gd name="T93" fmla="*/ 1127 h 3243"/>
                  <a:gd name="T94" fmla="*/ 2067 w 3704"/>
                  <a:gd name="T95" fmla="*/ 1124 h 3243"/>
                  <a:gd name="T96" fmla="*/ 3648 w 3704"/>
                  <a:gd name="T97" fmla="*/ 2173 h 3243"/>
                  <a:gd name="T98" fmla="*/ 3666 w 3704"/>
                  <a:gd name="T99"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04" h="3243">
                    <a:moveTo>
                      <a:pt x="3666" y="2260"/>
                    </a:moveTo>
                    <a:cubicBezTo>
                      <a:pt x="3666" y="2260"/>
                      <a:pt x="3652" y="2368"/>
                      <a:pt x="3636" y="2489"/>
                    </a:cubicBezTo>
                    <a:cubicBezTo>
                      <a:pt x="3633" y="2511"/>
                      <a:pt x="3631" y="2531"/>
                      <a:pt x="3629" y="2552"/>
                    </a:cubicBezTo>
                    <a:cubicBezTo>
                      <a:pt x="3622" y="2579"/>
                      <a:pt x="3628" y="2609"/>
                      <a:pt x="3626" y="2635"/>
                    </a:cubicBezTo>
                    <a:cubicBezTo>
                      <a:pt x="3635" y="2766"/>
                      <a:pt x="3704" y="2899"/>
                      <a:pt x="3656" y="3017"/>
                    </a:cubicBezTo>
                    <a:cubicBezTo>
                      <a:pt x="3654" y="3022"/>
                      <a:pt x="3636" y="3018"/>
                      <a:pt x="3615" y="3010"/>
                    </a:cubicBezTo>
                    <a:cubicBezTo>
                      <a:pt x="3594" y="3002"/>
                      <a:pt x="3569" y="2991"/>
                      <a:pt x="3551" y="2984"/>
                    </a:cubicBezTo>
                    <a:cubicBezTo>
                      <a:pt x="3515" y="2970"/>
                      <a:pt x="3474" y="2977"/>
                      <a:pt x="3440" y="2989"/>
                    </a:cubicBezTo>
                    <a:cubicBezTo>
                      <a:pt x="3351" y="3023"/>
                      <a:pt x="3242" y="3109"/>
                      <a:pt x="3145" y="3106"/>
                    </a:cubicBezTo>
                    <a:cubicBezTo>
                      <a:pt x="3121" y="3105"/>
                      <a:pt x="3097" y="3099"/>
                      <a:pt x="3073" y="3085"/>
                    </a:cubicBezTo>
                    <a:cubicBezTo>
                      <a:pt x="2999" y="3033"/>
                      <a:pt x="2910" y="3021"/>
                      <a:pt x="2826" y="3050"/>
                    </a:cubicBezTo>
                    <a:cubicBezTo>
                      <a:pt x="2808" y="3056"/>
                      <a:pt x="2790" y="3064"/>
                      <a:pt x="2771" y="3073"/>
                    </a:cubicBezTo>
                    <a:cubicBezTo>
                      <a:pt x="2661" y="3128"/>
                      <a:pt x="2507" y="3243"/>
                      <a:pt x="2386" y="3139"/>
                    </a:cubicBezTo>
                    <a:cubicBezTo>
                      <a:pt x="2324" y="3089"/>
                      <a:pt x="2321" y="3003"/>
                      <a:pt x="2262" y="2953"/>
                    </a:cubicBezTo>
                    <a:cubicBezTo>
                      <a:pt x="2153" y="2864"/>
                      <a:pt x="2013" y="2937"/>
                      <a:pt x="1897" y="2971"/>
                    </a:cubicBezTo>
                    <a:cubicBezTo>
                      <a:pt x="1868" y="2974"/>
                      <a:pt x="1839" y="2973"/>
                      <a:pt x="1813" y="2969"/>
                    </a:cubicBezTo>
                    <a:cubicBezTo>
                      <a:pt x="1762" y="2961"/>
                      <a:pt x="1726" y="2939"/>
                      <a:pt x="1745" y="2908"/>
                    </a:cubicBezTo>
                    <a:cubicBezTo>
                      <a:pt x="1825" y="2769"/>
                      <a:pt x="2556" y="2260"/>
                      <a:pt x="2373" y="1862"/>
                    </a:cubicBezTo>
                    <a:cubicBezTo>
                      <a:pt x="2279" y="1657"/>
                      <a:pt x="2119" y="1575"/>
                      <a:pt x="1848" y="1544"/>
                    </a:cubicBezTo>
                    <a:cubicBezTo>
                      <a:pt x="1596" y="1514"/>
                      <a:pt x="1336" y="1519"/>
                      <a:pt x="1084" y="1488"/>
                    </a:cubicBezTo>
                    <a:cubicBezTo>
                      <a:pt x="795" y="1452"/>
                      <a:pt x="366" y="1377"/>
                      <a:pt x="287" y="1124"/>
                    </a:cubicBezTo>
                    <a:cubicBezTo>
                      <a:pt x="273" y="1078"/>
                      <a:pt x="272" y="1034"/>
                      <a:pt x="282" y="993"/>
                    </a:cubicBezTo>
                    <a:cubicBezTo>
                      <a:pt x="288" y="968"/>
                      <a:pt x="296" y="945"/>
                      <a:pt x="307" y="922"/>
                    </a:cubicBezTo>
                    <a:cubicBezTo>
                      <a:pt x="321" y="900"/>
                      <a:pt x="336" y="880"/>
                      <a:pt x="352" y="861"/>
                    </a:cubicBezTo>
                    <a:cubicBezTo>
                      <a:pt x="528" y="657"/>
                      <a:pt x="804" y="629"/>
                      <a:pt x="1045" y="554"/>
                    </a:cubicBezTo>
                    <a:cubicBezTo>
                      <a:pt x="1076" y="544"/>
                      <a:pt x="1106" y="534"/>
                      <a:pt x="1133" y="522"/>
                    </a:cubicBezTo>
                    <a:cubicBezTo>
                      <a:pt x="1215" y="487"/>
                      <a:pt x="1270" y="445"/>
                      <a:pt x="1252" y="397"/>
                    </a:cubicBezTo>
                    <a:cubicBezTo>
                      <a:pt x="1213" y="291"/>
                      <a:pt x="1035" y="269"/>
                      <a:pt x="915" y="259"/>
                    </a:cubicBezTo>
                    <a:cubicBezTo>
                      <a:pt x="891" y="257"/>
                      <a:pt x="869" y="255"/>
                      <a:pt x="851" y="254"/>
                    </a:cubicBezTo>
                    <a:cubicBezTo>
                      <a:pt x="744" y="249"/>
                      <a:pt x="632" y="237"/>
                      <a:pt x="525" y="232"/>
                    </a:cubicBezTo>
                    <a:cubicBezTo>
                      <a:pt x="502" y="231"/>
                      <a:pt x="478" y="230"/>
                      <a:pt x="455" y="228"/>
                    </a:cubicBezTo>
                    <a:cubicBezTo>
                      <a:pt x="360" y="222"/>
                      <a:pt x="266" y="215"/>
                      <a:pt x="173" y="205"/>
                    </a:cubicBezTo>
                    <a:cubicBezTo>
                      <a:pt x="148" y="202"/>
                      <a:pt x="118" y="193"/>
                      <a:pt x="94" y="203"/>
                    </a:cubicBezTo>
                    <a:cubicBezTo>
                      <a:pt x="86" y="167"/>
                      <a:pt x="73" y="122"/>
                      <a:pt x="49" y="93"/>
                    </a:cubicBezTo>
                    <a:cubicBezTo>
                      <a:pt x="26" y="65"/>
                      <a:pt x="9" y="42"/>
                      <a:pt x="0" y="5"/>
                    </a:cubicBezTo>
                    <a:cubicBezTo>
                      <a:pt x="71" y="0"/>
                      <a:pt x="144" y="0"/>
                      <a:pt x="216" y="2"/>
                    </a:cubicBezTo>
                    <a:cubicBezTo>
                      <a:pt x="422" y="7"/>
                      <a:pt x="627" y="24"/>
                      <a:pt x="832" y="46"/>
                    </a:cubicBezTo>
                    <a:cubicBezTo>
                      <a:pt x="1004" y="64"/>
                      <a:pt x="1177" y="88"/>
                      <a:pt x="1346" y="132"/>
                    </a:cubicBezTo>
                    <a:cubicBezTo>
                      <a:pt x="1477" y="166"/>
                      <a:pt x="1640" y="212"/>
                      <a:pt x="1729" y="323"/>
                    </a:cubicBezTo>
                    <a:cubicBezTo>
                      <a:pt x="1775" y="380"/>
                      <a:pt x="1783" y="451"/>
                      <a:pt x="1756" y="519"/>
                    </a:cubicBezTo>
                    <a:cubicBezTo>
                      <a:pt x="1706" y="648"/>
                      <a:pt x="1543" y="708"/>
                      <a:pt x="1386" y="748"/>
                    </a:cubicBezTo>
                    <a:cubicBezTo>
                      <a:pt x="1310" y="767"/>
                      <a:pt x="1170" y="796"/>
                      <a:pt x="1068" y="840"/>
                    </a:cubicBezTo>
                    <a:cubicBezTo>
                      <a:pt x="1042" y="851"/>
                      <a:pt x="1019" y="863"/>
                      <a:pt x="1000" y="875"/>
                    </a:cubicBezTo>
                    <a:cubicBezTo>
                      <a:pt x="981" y="888"/>
                      <a:pt x="966" y="902"/>
                      <a:pt x="957" y="916"/>
                    </a:cubicBezTo>
                    <a:cubicBezTo>
                      <a:pt x="943" y="938"/>
                      <a:pt x="939" y="962"/>
                      <a:pt x="944" y="986"/>
                    </a:cubicBezTo>
                    <a:cubicBezTo>
                      <a:pt x="948" y="1009"/>
                      <a:pt x="961" y="1031"/>
                      <a:pt x="982" y="1048"/>
                    </a:cubicBezTo>
                    <a:cubicBezTo>
                      <a:pt x="1094" y="1142"/>
                      <a:pt x="1417" y="1125"/>
                      <a:pt x="1575" y="1127"/>
                    </a:cubicBezTo>
                    <a:cubicBezTo>
                      <a:pt x="1738" y="1129"/>
                      <a:pt x="1905" y="1115"/>
                      <a:pt x="2067" y="1124"/>
                    </a:cubicBezTo>
                    <a:cubicBezTo>
                      <a:pt x="2859" y="1167"/>
                      <a:pt x="3504" y="1594"/>
                      <a:pt x="3648" y="2173"/>
                    </a:cubicBezTo>
                    <a:cubicBezTo>
                      <a:pt x="3654" y="2199"/>
                      <a:pt x="3660" y="2228"/>
                      <a:pt x="3666" y="2260"/>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179"/>
            <p:cNvSpPr>
              <a:spLocks noEditPoints="1"/>
            </p:cNvSpPr>
            <p:nvPr/>
          </p:nvSpPr>
          <p:spPr bwMode="auto">
            <a:xfrm>
              <a:off x="-1511557" y="1210597"/>
              <a:ext cx="7453763" cy="6009952"/>
            </a:xfrm>
            <a:custGeom>
              <a:avLst/>
              <a:gdLst>
                <a:gd name="T0" fmla="*/ 1157 w 3683"/>
                <a:gd name="T1" fmla="*/ 18 h 2968"/>
                <a:gd name="T2" fmla="*/ 963 w 3683"/>
                <a:gd name="T3" fmla="*/ 19 h 2968"/>
                <a:gd name="T4" fmla="*/ 1009 w 3683"/>
                <a:gd name="T5" fmla="*/ 26 h 2968"/>
                <a:gd name="T6" fmla="*/ 1011 w 3683"/>
                <a:gd name="T7" fmla="*/ 13 h 2968"/>
                <a:gd name="T8" fmla="*/ 1250 w 3683"/>
                <a:gd name="T9" fmla="*/ 836 h 2968"/>
                <a:gd name="T10" fmla="*/ 1228 w 3683"/>
                <a:gd name="T11" fmla="*/ 966 h 2968"/>
                <a:gd name="T12" fmla="*/ 1244 w 3683"/>
                <a:gd name="T13" fmla="*/ 960 h 2968"/>
                <a:gd name="T14" fmla="*/ 1401 w 3683"/>
                <a:gd name="T15" fmla="*/ 1119 h 2968"/>
                <a:gd name="T16" fmla="*/ 1528 w 3683"/>
                <a:gd name="T17" fmla="*/ 1150 h 2968"/>
                <a:gd name="T18" fmla="*/ 1519 w 3683"/>
                <a:gd name="T19" fmla="*/ 55 h 2968"/>
                <a:gd name="T20" fmla="*/ 1449 w 3683"/>
                <a:gd name="T21" fmla="*/ 669 h 2968"/>
                <a:gd name="T22" fmla="*/ 1285 w 3683"/>
                <a:gd name="T23" fmla="*/ 770 h 2968"/>
                <a:gd name="T24" fmla="*/ 1455 w 3683"/>
                <a:gd name="T25" fmla="*/ 674 h 2968"/>
                <a:gd name="T26" fmla="*/ 1709 w 3683"/>
                <a:gd name="T27" fmla="*/ 80 h 2968"/>
                <a:gd name="T28" fmla="*/ 3599 w 3683"/>
                <a:gd name="T29" fmla="*/ 1859 h 2968"/>
                <a:gd name="T30" fmla="*/ 3647 w 3683"/>
                <a:gd name="T31" fmla="*/ 1912 h 2968"/>
                <a:gd name="T32" fmla="*/ 3615 w 3683"/>
                <a:gd name="T33" fmla="*/ 1813 h 2968"/>
                <a:gd name="T34" fmla="*/ 3548 w 3683"/>
                <a:gd name="T35" fmla="*/ 1742 h 2968"/>
                <a:gd name="T36" fmla="*/ 48 w 3683"/>
                <a:gd name="T37" fmla="*/ 73 h 2968"/>
                <a:gd name="T38" fmla="*/ 1311 w 3683"/>
                <a:gd name="T39" fmla="*/ 27 h 2968"/>
                <a:gd name="T40" fmla="*/ 673 w 3683"/>
                <a:gd name="T41" fmla="*/ 6 h 2968"/>
                <a:gd name="T42" fmla="*/ 537 w 3683"/>
                <a:gd name="T43" fmla="*/ 1 h 2968"/>
                <a:gd name="T44" fmla="*/ 798 w 3683"/>
                <a:gd name="T45" fmla="*/ 20 h 2968"/>
                <a:gd name="T46" fmla="*/ 298 w 3683"/>
                <a:gd name="T47" fmla="*/ 27 h 2968"/>
                <a:gd name="T48" fmla="*/ 502 w 3683"/>
                <a:gd name="T49" fmla="*/ 17 h 2968"/>
                <a:gd name="T50" fmla="*/ 3272 w 3683"/>
                <a:gd name="T51" fmla="*/ 1450 h 2968"/>
                <a:gd name="T52" fmla="*/ 3338 w 3683"/>
                <a:gd name="T53" fmla="*/ 1521 h 2968"/>
                <a:gd name="T54" fmla="*/ 3430 w 3683"/>
                <a:gd name="T55" fmla="*/ 1554 h 2968"/>
                <a:gd name="T56" fmla="*/ 3374 w 3683"/>
                <a:gd name="T57" fmla="*/ 2968 h 2968"/>
                <a:gd name="T58" fmla="*/ 3397 w 3683"/>
                <a:gd name="T59" fmla="*/ 2879 h 2968"/>
                <a:gd name="T60" fmla="*/ 2880 w 3683"/>
                <a:gd name="T61" fmla="*/ 1304 h 2968"/>
                <a:gd name="T62" fmla="*/ 2970 w 3683"/>
                <a:gd name="T63" fmla="*/ 1358 h 2968"/>
                <a:gd name="T64" fmla="*/ 2978 w 3683"/>
                <a:gd name="T65" fmla="*/ 1333 h 2968"/>
                <a:gd name="T66" fmla="*/ 2506 w 3683"/>
                <a:gd name="T67" fmla="*/ 1258 h 2968"/>
                <a:gd name="T68" fmla="*/ 2648 w 3683"/>
                <a:gd name="T69" fmla="*/ 1254 h 2968"/>
                <a:gd name="T70" fmla="*/ 3528 w 3683"/>
                <a:gd name="T71" fmla="*/ 2668 h 2968"/>
                <a:gd name="T72" fmla="*/ 3615 w 3683"/>
                <a:gd name="T73" fmla="*/ 2554 h 2968"/>
                <a:gd name="T74" fmla="*/ 3682 w 3683"/>
                <a:gd name="T75" fmla="*/ 2148 h 2968"/>
                <a:gd name="T76" fmla="*/ 3650 w 3683"/>
                <a:gd name="T77" fmla="*/ 2149 h 2968"/>
                <a:gd name="T78" fmla="*/ 3674 w 3683"/>
                <a:gd name="T79" fmla="*/ 2322 h 2968"/>
                <a:gd name="T80" fmla="*/ 2076 w 3683"/>
                <a:gd name="T81" fmla="*/ 230 h 2968"/>
                <a:gd name="T82" fmla="*/ 1946 w 3683"/>
                <a:gd name="T83" fmla="*/ 144 h 2968"/>
                <a:gd name="T84" fmla="*/ 1816 w 3683"/>
                <a:gd name="T85" fmla="*/ 532 h 2968"/>
                <a:gd name="T86" fmla="*/ 1969 w 3683"/>
                <a:gd name="T87" fmla="*/ 480 h 2968"/>
                <a:gd name="T88" fmla="*/ 1695 w 3683"/>
                <a:gd name="T89" fmla="*/ 1175 h 2968"/>
                <a:gd name="T90" fmla="*/ 1834 w 3683"/>
                <a:gd name="T91" fmla="*/ 1203 h 2968"/>
                <a:gd name="T92" fmla="*/ 1835 w 3683"/>
                <a:gd name="T93" fmla="*/ 1182 h 2968"/>
                <a:gd name="T94" fmla="*/ 2069 w 3683"/>
                <a:gd name="T95" fmla="*/ 1220 h 2968"/>
                <a:gd name="T96" fmla="*/ 2098 w 3683"/>
                <a:gd name="T97" fmla="*/ 316 h 2968"/>
                <a:gd name="T98" fmla="*/ 2030 w 3683"/>
                <a:gd name="T99" fmla="*/ 439 h 2968"/>
                <a:gd name="T100" fmla="*/ 1725 w 3683"/>
                <a:gd name="T101" fmla="*/ 564 h 2968"/>
                <a:gd name="T102" fmla="*/ 1733 w 3683"/>
                <a:gd name="T103" fmla="*/ 579 h 2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83" h="2968">
                  <a:moveTo>
                    <a:pt x="1265" y="38"/>
                  </a:moveTo>
                  <a:cubicBezTo>
                    <a:pt x="1228" y="36"/>
                    <a:pt x="1192" y="33"/>
                    <a:pt x="1157" y="30"/>
                  </a:cubicBezTo>
                  <a:cubicBezTo>
                    <a:pt x="1156" y="30"/>
                    <a:pt x="1155" y="30"/>
                    <a:pt x="1154" y="30"/>
                  </a:cubicBezTo>
                  <a:cubicBezTo>
                    <a:pt x="1154" y="26"/>
                    <a:pt x="1155" y="22"/>
                    <a:pt x="1155" y="18"/>
                  </a:cubicBezTo>
                  <a:cubicBezTo>
                    <a:pt x="1156" y="18"/>
                    <a:pt x="1157" y="18"/>
                    <a:pt x="1157" y="18"/>
                  </a:cubicBezTo>
                  <a:cubicBezTo>
                    <a:pt x="1192" y="20"/>
                    <a:pt x="1228" y="23"/>
                    <a:pt x="1265" y="25"/>
                  </a:cubicBezTo>
                  <a:cubicBezTo>
                    <a:pt x="1265" y="29"/>
                    <a:pt x="1265" y="33"/>
                    <a:pt x="1265" y="38"/>
                  </a:cubicBezTo>
                  <a:close/>
                  <a:moveTo>
                    <a:pt x="870" y="22"/>
                  </a:moveTo>
                  <a:cubicBezTo>
                    <a:pt x="891" y="22"/>
                    <a:pt x="913" y="23"/>
                    <a:pt x="935" y="24"/>
                  </a:cubicBezTo>
                  <a:cubicBezTo>
                    <a:pt x="942" y="16"/>
                    <a:pt x="954" y="14"/>
                    <a:pt x="963" y="19"/>
                  </a:cubicBezTo>
                  <a:cubicBezTo>
                    <a:pt x="963" y="17"/>
                    <a:pt x="964" y="15"/>
                    <a:pt x="964" y="12"/>
                  </a:cubicBezTo>
                  <a:cubicBezTo>
                    <a:pt x="931" y="12"/>
                    <a:pt x="899" y="11"/>
                    <a:pt x="869" y="10"/>
                  </a:cubicBezTo>
                  <a:cubicBezTo>
                    <a:pt x="869" y="14"/>
                    <a:pt x="869" y="18"/>
                    <a:pt x="870" y="22"/>
                  </a:cubicBezTo>
                  <a:close/>
                  <a:moveTo>
                    <a:pt x="1011" y="13"/>
                  </a:moveTo>
                  <a:cubicBezTo>
                    <a:pt x="1010" y="17"/>
                    <a:pt x="1009" y="21"/>
                    <a:pt x="1009" y="26"/>
                  </a:cubicBezTo>
                  <a:cubicBezTo>
                    <a:pt x="1019" y="26"/>
                    <a:pt x="1029" y="26"/>
                    <a:pt x="1039" y="26"/>
                  </a:cubicBezTo>
                  <a:cubicBezTo>
                    <a:pt x="1061" y="27"/>
                    <a:pt x="1085" y="28"/>
                    <a:pt x="1108" y="28"/>
                  </a:cubicBezTo>
                  <a:cubicBezTo>
                    <a:pt x="1109" y="24"/>
                    <a:pt x="1109" y="20"/>
                    <a:pt x="1110" y="16"/>
                  </a:cubicBezTo>
                  <a:cubicBezTo>
                    <a:pt x="1086" y="15"/>
                    <a:pt x="1062" y="15"/>
                    <a:pt x="1039" y="14"/>
                  </a:cubicBezTo>
                  <a:cubicBezTo>
                    <a:pt x="1030" y="14"/>
                    <a:pt x="1020" y="14"/>
                    <a:pt x="1011" y="13"/>
                  </a:cubicBezTo>
                  <a:close/>
                  <a:moveTo>
                    <a:pt x="1244" y="960"/>
                  </a:moveTo>
                  <a:cubicBezTo>
                    <a:pt x="1243" y="956"/>
                    <a:pt x="1242" y="953"/>
                    <a:pt x="1241" y="949"/>
                  </a:cubicBezTo>
                  <a:cubicBezTo>
                    <a:pt x="1240" y="945"/>
                    <a:pt x="1239" y="941"/>
                    <a:pt x="1238" y="937"/>
                  </a:cubicBezTo>
                  <a:cubicBezTo>
                    <a:pt x="1235" y="920"/>
                    <a:pt x="1234" y="903"/>
                    <a:pt x="1236" y="886"/>
                  </a:cubicBezTo>
                  <a:cubicBezTo>
                    <a:pt x="1237" y="869"/>
                    <a:pt x="1242" y="852"/>
                    <a:pt x="1250" y="836"/>
                  </a:cubicBezTo>
                  <a:cubicBezTo>
                    <a:pt x="1232" y="836"/>
                    <a:pt x="1232" y="836"/>
                    <a:pt x="1232" y="836"/>
                  </a:cubicBezTo>
                  <a:cubicBezTo>
                    <a:pt x="1225" y="852"/>
                    <a:pt x="1221" y="868"/>
                    <a:pt x="1219" y="885"/>
                  </a:cubicBezTo>
                  <a:cubicBezTo>
                    <a:pt x="1217" y="904"/>
                    <a:pt x="1218" y="922"/>
                    <a:pt x="1221" y="940"/>
                  </a:cubicBezTo>
                  <a:cubicBezTo>
                    <a:pt x="1222" y="944"/>
                    <a:pt x="1223" y="949"/>
                    <a:pt x="1224" y="953"/>
                  </a:cubicBezTo>
                  <a:cubicBezTo>
                    <a:pt x="1226" y="957"/>
                    <a:pt x="1227" y="962"/>
                    <a:pt x="1228" y="966"/>
                  </a:cubicBezTo>
                  <a:cubicBezTo>
                    <a:pt x="1231" y="974"/>
                    <a:pt x="1234" y="982"/>
                    <a:pt x="1238" y="990"/>
                  </a:cubicBezTo>
                  <a:cubicBezTo>
                    <a:pt x="1244" y="1002"/>
                    <a:pt x="1251" y="1013"/>
                    <a:pt x="1259" y="1023"/>
                  </a:cubicBezTo>
                  <a:cubicBezTo>
                    <a:pt x="1264" y="1020"/>
                    <a:pt x="1269" y="1017"/>
                    <a:pt x="1274" y="1014"/>
                  </a:cubicBezTo>
                  <a:cubicBezTo>
                    <a:pt x="1266" y="1005"/>
                    <a:pt x="1259" y="994"/>
                    <a:pt x="1253" y="982"/>
                  </a:cubicBezTo>
                  <a:cubicBezTo>
                    <a:pt x="1249" y="975"/>
                    <a:pt x="1247" y="968"/>
                    <a:pt x="1244" y="960"/>
                  </a:cubicBezTo>
                  <a:close/>
                  <a:moveTo>
                    <a:pt x="1503" y="1141"/>
                  </a:moveTo>
                  <a:cubicBezTo>
                    <a:pt x="1481" y="1132"/>
                    <a:pt x="1448" y="1121"/>
                    <a:pt x="1408" y="1104"/>
                  </a:cubicBezTo>
                  <a:cubicBezTo>
                    <a:pt x="1390" y="1096"/>
                    <a:pt x="1370" y="1087"/>
                    <a:pt x="1349" y="1075"/>
                  </a:cubicBezTo>
                  <a:cubicBezTo>
                    <a:pt x="1346" y="1079"/>
                    <a:pt x="1343" y="1084"/>
                    <a:pt x="1340" y="1088"/>
                  </a:cubicBezTo>
                  <a:cubicBezTo>
                    <a:pt x="1361" y="1101"/>
                    <a:pt x="1382" y="1110"/>
                    <a:pt x="1401" y="1119"/>
                  </a:cubicBezTo>
                  <a:cubicBezTo>
                    <a:pt x="1442" y="1136"/>
                    <a:pt x="1475" y="1147"/>
                    <a:pt x="1497" y="1156"/>
                  </a:cubicBezTo>
                  <a:cubicBezTo>
                    <a:pt x="1509" y="1160"/>
                    <a:pt x="1517" y="1163"/>
                    <a:pt x="1523" y="1165"/>
                  </a:cubicBezTo>
                  <a:cubicBezTo>
                    <a:pt x="1528" y="1167"/>
                    <a:pt x="1531" y="1168"/>
                    <a:pt x="1531" y="1168"/>
                  </a:cubicBezTo>
                  <a:cubicBezTo>
                    <a:pt x="1537" y="1154"/>
                    <a:pt x="1537" y="1154"/>
                    <a:pt x="1537" y="1154"/>
                  </a:cubicBezTo>
                  <a:cubicBezTo>
                    <a:pt x="1537" y="1154"/>
                    <a:pt x="1534" y="1152"/>
                    <a:pt x="1528" y="1150"/>
                  </a:cubicBezTo>
                  <a:cubicBezTo>
                    <a:pt x="1523" y="1148"/>
                    <a:pt x="1514" y="1145"/>
                    <a:pt x="1503" y="1141"/>
                  </a:cubicBezTo>
                  <a:close/>
                  <a:moveTo>
                    <a:pt x="1666" y="58"/>
                  </a:moveTo>
                  <a:cubicBezTo>
                    <a:pt x="1629" y="53"/>
                    <a:pt x="1592" y="48"/>
                    <a:pt x="1556" y="44"/>
                  </a:cubicBezTo>
                  <a:cubicBezTo>
                    <a:pt x="1544" y="43"/>
                    <a:pt x="1531" y="42"/>
                    <a:pt x="1519" y="41"/>
                  </a:cubicBezTo>
                  <a:cubicBezTo>
                    <a:pt x="1519" y="46"/>
                    <a:pt x="1519" y="50"/>
                    <a:pt x="1519" y="55"/>
                  </a:cubicBezTo>
                  <a:cubicBezTo>
                    <a:pt x="1531" y="56"/>
                    <a:pt x="1543" y="57"/>
                    <a:pt x="1554" y="58"/>
                  </a:cubicBezTo>
                  <a:cubicBezTo>
                    <a:pt x="1591" y="62"/>
                    <a:pt x="1627" y="67"/>
                    <a:pt x="1664" y="72"/>
                  </a:cubicBezTo>
                  <a:cubicBezTo>
                    <a:pt x="1665" y="68"/>
                    <a:pt x="1666" y="63"/>
                    <a:pt x="1666" y="58"/>
                  </a:cubicBezTo>
                  <a:close/>
                  <a:moveTo>
                    <a:pt x="1455" y="674"/>
                  </a:moveTo>
                  <a:cubicBezTo>
                    <a:pt x="1452" y="671"/>
                    <a:pt x="1454" y="672"/>
                    <a:pt x="1449" y="669"/>
                  </a:cubicBezTo>
                  <a:cubicBezTo>
                    <a:pt x="1445" y="667"/>
                    <a:pt x="1441" y="665"/>
                    <a:pt x="1437" y="663"/>
                  </a:cubicBezTo>
                  <a:cubicBezTo>
                    <a:pt x="1432" y="666"/>
                    <a:pt x="1427" y="668"/>
                    <a:pt x="1422" y="670"/>
                  </a:cubicBezTo>
                  <a:cubicBezTo>
                    <a:pt x="1383" y="689"/>
                    <a:pt x="1345" y="710"/>
                    <a:pt x="1313" y="736"/>
                  </a:cubicBezTo>
                  <a:cubicBezTo>
                    <a:pt x="1300" y="747"/>
                    <a:pt x="1288" y="757"/>
                    <a:pt x="1276" y="769"/>
                  </a:cubicBezTo>
                  <a:cubicBezTo>
                    <a:pt x="1279" y="769"/>
                    <a:pt x="1282" y="770"/>
                    <a:pt x="1285" y="770"/>
                  </a:cubicBezTo>
                  <a:cubicBezTo>
                    <a:pt x="1289" y="769"/>
                    <a:pt x="1293" y="768"/>
                    <a:pt x="1298" y="767"/>
                  </a:cubicBezTo>
                  <a:cubicBezTo>
                    <a:pt x="1300" y="766"/>
                    <a:pt x="1302" y="766"/>
                    <a:pt x="1304" y="766"/>
                  </a:cubicBezTo>
                  <a:cubicBezTo>
                    <a:pt x="1310" y="760"/>
                    <a:pt x="1317" y="755"/>
                    <a:pt x="1323" y="750"/>
                  </a:cubicBezTo>
                  <a:cubicBezTo>
                    <a:pt x="1355" y="725"/>
                    <a:pt x="1391" y="704"/>
                    <a:pt x="1430" y="686"/>
                  </a:cubicBezTo>
                  <a:cubicBezTo>
                    <a:pt x="1438" y="682"/>
                    <a:pt x="1447" y="678"/>
                    <a:pt x="1455" y="674"/>
                  </a:cubicBezTo>
                  <a:close/>
                  <a:moveTo>
                    <a:pt x="1879" y="120"/>
                  </a:moveTo>
                  <a:cubicBezTo>
                    <a:pt x="1880" y="115"/>
                    <a:pt x="1881" y="110"/>
                    <a:pt x="1883" y="105"/>
                  </a:cubicBezTo>
                  <a:cubicBezTo>
                    <a:pt x="1870" y="101"/>
                    <a:pt x="1857" y="97"/>
                    <a:pt x="1844" y="94"/>
                  </a:cubicBezTo>
                  <a:cubicBezTo>
                    <a:pt x="1800" y="82"/>
                    <a:pt x="1756" y="73"/>
                    <a:pt x="1712" y="65"/>
                  </a:cubicBezTo>
                  <a:cubicBezTo>
                    <a:pt x="1711" y="70"/>
                    <a:pt x="1710" y="75"/>
                    <a:pt x="1709" y="80"/>
                  </a:cubicBezTo>
                  <a:cubicBezTo>
                    <a:pt x="1753" y="88"/>
                    <a:pt x="1797" y="97"/>
                    <a:pt x="1840" y="109"/>
                  </a:cubicBezTo>
                  <a:cubicBezTo>
                    <a:pt x="1853" y="112"/>
                    <a:pt x="1866" y="116"/>
                    <a:pt x="1879" y="120"/>
                  </a:cubicBezTo>
                  <a:close/>
                  <a:moveTo>
                    <a:pt x="3559" y="1762"/>
                  </a:moveTo>
                  <a:cubicBezTo>
                    <a:pt x="3567" y="1778"/>
                    <a:pt x="3578" y="1801"/>
                    <a:pt x="3587" y="1824"/>
                  </a:cubicBezTo>
                  <a:cubicBezTo>
                    <a:pt x="3591" y="1836"/>
                    <a:pt x="3595" y="1848"/>
                    <a:pt x="3599" y="1859"/>
                  </a:cubicBezTo>
                  <a:cubicBezTo>
                    <a:pt x="3600" y="1861"/>
                    <a:pt x="3601" y="1864"/>
                    <a:pt x="3602" y="1867"/>
                  </a:cubicBezTo>
                  <a:cubicBezTo>
                    <a:pt x="3602" y="1869"/>
                    <a:pt x="3603" y="1872"/>
                    <a:pt x="3604" y="1875"/>
                  </a:cubicBezTo>
                  <a:cubicBezTo>
                    <a:pt x="3605" y="1880"/>
                    <a:pt x="3607" y="1885"/>
                    <a:pt x="3608" y="1889"/>
                  </a:cubicBezTo>
                  <a:cubicBezTo>
                    <a:pt x="3613" y="1908"/>
                    <a:pt x="3617" y="1920"/>
                    <a:pt x="3617" y="1920"/>
                  </a:cubicBezTo>
                  <a:cubicBezTo>
                    <a:pt x="3647" y="1912"/>
                    <a:pt x="3647" y="1912"/>
                    <a:pt x="3647" y="1912"/>
                  </a:cubicBezTo>
                  <a:cubicBezTo>
                    <a:pt x="3647" y="1912"/>
                    <a:pt x="3643" y="1899"/>
                    <a:pt x="3638" y="1881"/>
                  </a:cubicBezTo>
                  <a:cubicBezTo>
                    <a:pt x="3636" y="1876"/>
                    <a:pt x="3635" y="1871"/>
                    <a:pt x="3633" y="1866"/>
                  </a:cubicBezTo>
                  <a:cubicBezTo>
                    <a:pt x="3633" y="1864"/>
                    <a:pt x="3632" y="1861"/>
                    <a:pt x="3631" y="1858"/>
                  </a:cubicBezTo>
                  <a:cubicBezTo>
                    <a:pt x="3630" y="1855"/>
                    <a:pt x="3629" y="1852"/>
                    <a:pt x="3628" y="1849"/>
                  </a:cubicBezTo>
                  <a:cubicBezTo>
                    <a:pt x="3624" y="1838"/>
                    <a:pt x="3620" y="1825"/>
                    <a:pt x="3615" y="1813"/>
                  </a:cubicBezTo>
                  <a:cubicBezTo>
                    <a:pt x="3606" y="1789"/>
                    <a:pt x="3595" y="1765"/>
                    <a:pt x="3586" y="1748"/>
                  </a:cubicBezTo>
                  <a:cubicBezTo>
                    <a:pt x="3581" y="1739"/>
                    <a:pt x="3577" y="1732"/>
                    <a:pt x="3574" y="1727"/>
                  </a:cubicBezTo>
                  <a:cubicBezTo>
                    <a:pt x="3571" y="1722"/>
                    <a:pt x="3570" y="1719"/>
                    <a:pt x="3570" y="1719"/>
                  </a:cubicBezTo>
                  <a:cubicBezTo>
                    <a:pt x="3544" y="1734"/>
                    <a:pt x="3544" y="1734"/>
                    <a:pt x="3544" y="1734"/>
                  </a:cubicBezTo>
                  <a:cubicBezTo>
                    <a:pt x="3544" y="1734"/>
                    <a:pt x="3545" y="1737"/>
                    <a:pt x="3548" y="1742"/>
                  </a:cubicBezTo>
                  <a:cubicBezTo>
                    <a:pt x="3551" y="1747"/>
                    <a:pt x="3555" y="1753"/>
                    <a:pt x="3559" y="1762"/>
                  </a:cubicBezTo>
                  <a:close/>
                  <a:moveTo>
                    <a:pt x="48" y="70"/>
                  </a:moveTo>
                  <a:cubicBezTo>
                    <a:pt x="24" y="76"/>
                    <a:pt x="0" y="84"/>
                    <a:pt x="0" y="84"/>
                  </a:cubicBezTo>
                  <a:cubicBezTo>
                    <a:pt x="0" y="86"/>
                    <a:pt x="0" y="86"/>
                    <a:pt x="0" y="86"/>
                  </a:cubicBezTo>
                  <a:cubicBezTo>
                    <a:pt x="0" y="86"/>
                    <a:pt x="24" y="79"/>
                    <a:pt x="48" y="73"/>
                  </a:cubicBezTo>
                  <a:cubicBezTo>
                    <a:pt x="73" y="66"/>
                    <a:pt x="97" y="61"/>
                    <a:pt x="97" y="61"/>
                  </a:cubicBezTo>
                  <a:cubicBezTo>
                    <a:pt x="96" y="58"/>
                    <a:pt x="96" y="58"/>
                    <a:pt x="96" y="58"/>
                  </a:cubicBezTo>
                  <a:cubicBezTo>
                    <a:pt x="96" y="58"/>
                    <a:pt x="72" y="63"/>
                    <a:pt x="48" y="70"/>
                  </a:cubicBezTo>
                  <a:close/>
                  <a:moveTo>
                    <a:pt x="1473" y="37"/>
                  </a:moveTo>
                  <a:cubicBezTo>
                    <a:pt x="1417" y="33"/>
                    <a:pt x="1363" y="30"/>
                    <a:pt x="1311" y="27"/>
                  </a:cubicBezTo>
                  <a:cubicBezTo>
                    <a:pt x="1311" y="32"/>
                    <a:pt x="1311" y="36"/>
                    <a:pt x="1311" y="40"/>
                  </a:cubicBezTo>
                  <a:cubicBezTo>
                    <a:pt x="1363" y="44"/>
                    <a:pt x="1417" y="47"/>
                    <a:pt x="1473" y="51"/>
                  </a:cubicBezTo>
                  <a:cubicBezTo>
                    <a:pt x="1473" y="46"/>
                    <a:pt x="1473" y="42"/>
                    <a:pt x="1473" y="37"/>
                  </a:cubicBezTo>
                  <a:close/>
                  <a:moveTo>
                    <a:pt x="747" y="8"/>
                  </a:moveTo>
                  <a:cubicBezTo>
                    <a:pt x="720" y="7"/>
                    <a:pt x="695" y="7"/>
                    <a:pt x="673" y="6"/>
                  </a:cubicBezTo>
                  <a:cubicBezTo>
                    <a:pt x="629" y="5"/>
                    <a:pt x="595" y="5"/>
                    <a:pt x="571" y="4"/>
                  </a:cubicBezTo>
                  <a:cubicBezTo>
                    <a:pt x="559" y="3"/>
                    <a:pt x="550" y="3"/>
                    <a:pt x="544" y="2"/>
                  </a:cubicBezTo>
                  <a:cubicBezTo>
                    <a:pt x="541" y="2"/>
                    <a:pt x="539" y="2"/>
                    <a:pt x="537" y="1"/>
                  </a:cubicBezTo>
                  <a:cubicBezTo>
                    <a:pt x="536" y="1"/>
                    <a:pt x="535" y="0"/>
                    <a:pt x="535" y="0"/>
                  </a:cubicBezTo>
                  <a:cubicBezTo>
                    <a:pt x="535" y="0"/>
                    <a:pt x="536" y="1"/>
                    <a:pt x="537" y="1"/>
                  </a:cubicBezTo>
                  <a:cubicBezTo>
                    <a:pt x="539" y="2"/>
                    <a:pt x="541" y="2"/>
                    <a:pt x="544" y="3"/>
                  </a:cubicBezTo>
                  <a:cubicBezTo>
                    <a:pt x="550" y="4"/>
                    <a:pt x="559" y="6"/>
                    <a:pt x="571" y="7"/>
                  </a:cubicBezTo>
                  <a:cubicBezTo>
                    <a:pt x="594" y="9"/>
                    <a:pt x="629" y="12"/>
                    <a:pt x="673" y="15"/>
                  </a:cubicBezTo>
                  <a:cubicBezTo>
                    <a:pt x="695" y="16"/>
                    <a:pt x="720" y="17"/>
                    <a:pt x="746" y="18"/>
                  </a:cubicBezTo>
                  <a:cubicBezTo>
                    <a:pt x="763" y="19"/>
                    <a:pt x="780" y="19"/>
                    <a:pt x="798" y="20"/>
                  </a:cubicBezTo>
                  <a:cubicBezTo>
                    <a:pt x="798" y="16"/>
                    <a:pt x="798" y="12"/>
                    <a:pt x="797" y="9"/>
                  </a:cubicBezTo>
                  <a:cubicBezTo>
                    <a:pt x="780" y="8"/>
                    <a:pt x="763" y="8"/>
                    <a:pt x="747" y="8"/>
                  </a:cubicBezTo>
                  <a:close/>
                  <a:moveTo>
                    <a:pt x="400" y="20"/>
                  </a:moveTo>
                  <a:cubicBezTo>
                    <a:pt x="374" y="22"/>
                    <a:pt x="349" y="23"/>
                    <a:pt x="330" y="25"/>
                  </a:cubicBezTo>
                  <a:cubicBezTo>
                    <a:pt x="311" y="26"/>
                    <a:pt x="298" y="27"/>
                    <a:pt x="298" y="27"/>
                  </a:cubicBezTo>
                  <a:cubicBezTo>
                    <a:pt x="298" y="31"/>
                    <a:pt x="298" y="31"/>
                    <a:pt x="298" y="31"/>
                  </a:cubicBezTo>
                  <a:cubicBezTo>
                    <a:pt x="298" y="31"/>
                    <a:pt x="311" y="30"/>
                    <a:pt x="330" y="29"/>
                  </a:cubicBezTo>
                  <a:cubicBezTo>
                    <a:pt x="349" y="27"/>
                    <a:pt x="374" y="26"/>
                    <a:pt x="400" y="25"/>
                  </a:cubicBezTo>
                  <a:cubicBezTo>
                    <a:pt x="451" y="22"/>
                    <a:pt x="502" y="22"/>
                    <a:pt x="502" y="22"/>
                  </a:cubicBezTo>
                  <a:cubicBezTo>
                    <a:pt x="502" y="17"/>
                    <a:pt x="502" y="17"/>
                    <a:pt x="502" y="17"/>
                  </a:cubicBezTo>
                  <a:cubicBezTo>
                    <a:pt x="502" y="17"/>
                    <a:pt x="451" y="18"/>
                    <a:pt x="400" y="20"/>
                  </a:cubicBezTo>
                  <a:close/>
                  <a:moveTo>
                    <a:pt x="3411" y="1539"/>
                  </a:moveTo>
                  <a:cubicBezTo>
                    <a:pt x="3396" y="1527"/>
                    <a:pt x="3375" y="1512"/>
                    <a:pt x="3354" y="1498"/>
                  </a:cubicBezTo>
                  <a:cubicBezTo>
                    <a:pt x="3332" y="1483"/>
                    <a:pt x="3310" y="1470"/>
                    <a:pt x="3293" y="1461"/>
                  </a:cubicBezTo>
                  <a:cubicBezTo>
                    <a:pt x="3284" y="1456"/>
                    <a:pt x="3277" y="1452"/>
                    <a:pt x="3272" y="1450"/>
                  </a:cubicBezTo>
                  <a:cubicBezTo>
                    <a:pt x="3267" y="1447"/>
                    <a:pt x="3264" y="1446"/>
                    <a:pt x="3264" y="1446"/>
                  </a:cubicBezTo>
                  <a:cubicBezTo>
                    <a:pt x="3251" y="1470"/>
                    <a:pt x="3251" y="1470"/>
                    <a:pt x="3251" y="1470"/>
                  </a:cubicBezTo>
                  <a:cubicBezTo>
                    <a:pt x="3251" y="1470"/>
                    <a:pt x="3254" y="1472"/>
                    <a:pt x="3259" y="1474"/>
                  </a:cubicBezTo>
                  <a:cubicBezTo>
                    <a:pt x="3264" y="1477"/>
                    <a:pt x="3271" y="1481"/>
                    <a:pt x="3279" y="1485"/>
                  </a:cubicBezTo>
                  <a:cubicBezTo>
                    <a:pt x="3295" y="1495"/>
                    <a:pt x="3317" y="1507"/>
                    <a:pt x="3338" y="1521"/>
                  </a:cubicBezTo>
                  <a:cubicBezTo>
                    <a:pt x="3359" y="1535"/>
                    <a:pt x="3379" y="1550"/>
                    <a:pt x="3393" y="1562"/>
                  </a:cubicBezTo>
                  <a:cubicBezTo>
                    <a:pt x="3401" y="1568"/>
                    <a:pt x="3407" y="1573"/>
                    <a:pt x="3411" y="1576"/>
                  </a:cubicBezTo>
                  <a:cubicBezTo>
                    <a:pt x="3415" y="1580"/>
                    <a:pt x="3417" y="1582"/>
                    <a:pt x="3417" y="1582"/>
                  </a:cubicBezTo>
                  <a:cubicBezTo>
                    <a:pt x="3436" y="1560"/>
                    <a:pt x="3436" y="1560"/>
                    <a:pt x="3436" y="1560"/>
                  </a:cubicBezTo>
                  <a:cubicBezTo>
                    <a:pt x="3436" y="1560"/>
                    <a:pt x="3434" y="1558"/>
                    <a:pt x="3430" y="1554"/>
                  </a:cubicBezTo>
                  <a:cubicBezTo>
                    <a:pt x="3425" y="1551"/>
                    <a:pt x="3419" y="1545"/>
                    <a:pt x="3411" y="1539"/>
                  </a:cubicBezTo>
                  <a:close/>
                  <a:moveTo>
                    <a:pt x="3397" y="2879"/>
                  </a:moveTo>
                  <a:cubicBezTo>
                    <a:pt x="3391" y="2887"/>
                    <a:pt x="3384" y="2897"/>
                    <a:pt x="3376" y="2907"/>
                  </a:cubicBezTo>
                  <a:cubicBezTo>
                    <a:pt x="3361" y="2926"/>
                    <a:pt x="3346" y="2946"/>
                    <a:pt x="3346" y="2946"/>
                  </a:cubicBezTo>
                  <a:cubicBezTo>
                    <a:pt x="3374" y="2968"/>
                    <a:pt x="3374" y="2968"/>
                    <a:pt x="3374" y="2968"/>
                  </a:cubicBezTo>
                  <a:cubicBezTo>
                    <a:pt x="3374" y="2968"/>
                    <a:pt x="3390" y="2948"/>
                    <a:pt x="3405" y="2928"/>
                  </a:cubicBezTo>
                  <a:cubicBezTo>
                    <a:pt x="3413" y="2918"/>
                    <a:pt x="3420" y="2908"/>
                    <a:pt x="3426" y="2900"/>
                  </a:cubicBezTo>
                  <a:cubicBezTo>
                    <a:pt x="3431" y="2893"/>
                    <a:pt x="3435" y="2888"/>
                    <a:pt x="3435" y="2888"/>
                  </a:cubicBezTo>
                  <a:cubicBezTo>
                    <a:pt x="3406" y="2867"/>
                    <a:pt x="3406" y="2867"/>
                    <a:pt x="3406" y="2867"/>
                  </a:cubicBezTo>
                  <a:cubicBezTo>
                    <a:pt x="3406" y="2867"/>
                    <a:pt x="3402" y="2872"/>
                    <a:pt x="3397" y="2879"/>
                  </a:cubicBezTo>
                  <a:close/>
                  <a:moveTo>
                    <a:pt x="2978" y="1333"/>
                  </a:moveTo>
                  <a:cubicBezTo>
                    <a:pt x="2966" y="1329"/>
                    <a:pt x="2953" y="1325"/>
                    <a:pt x="2942" y="1322"/>
                  </a:cubicBezTo>
                  <a:cubicBezTo>
                    <a:pt x="2936" y="1320"/>
                    <a:pt x="2931" y="1318"/>
                    <a:pt x="2925" y="1317"/>
                  </a:cubicBezTo>
                  <a:cubicBezTo>
                    <a:pt x="2920" y="1315"/>
                    <a:pt x="2915" y="1314"/>
                    <a:pt x="2910" y="1313"/>
                  </a:cubicBezTo>
                  <a:cubicBezTo>
                    <a:pt x="2892" y="1307"/>
                    <a:pt x="2880" y="1304"/>
                    <a:pt x="2880" y="1304"/>
                  </a:cubicBezTo>
                  <a:cubicBezTo>
                    <a:pt x="2873" y="1329"/>
                    <a:pt x="2873" y="1329"/>
                    <a:pt x="2873" y="1329"/>
                  </a:cubicBezTo>
                  <a:cubicBezTo>
                    <a:pt x="2873" y="1329"/>
                    <a:pt x="2885" y="1333"/>
                    <a:pt x="2903" y="1338"/>
                  </a:cubicBezTo>
                  <a:cubicBezTo>
                    <a:pt x="2908" y="1339"/>
                    <a:pt x="2913" y="1341"/>
                    <a:pt x="2918" y="1342"/>
                  </a:cubicBezTo>
                  <a:cubicBezTo>
                    <a:pt x="2923" y="1344"/>
                    <a:pt x="2929" y="1345"/>
                    <a:pt x="2934" y="1347"/>
                  </a:cubicBezTo>
                  <a:cubicBezTo>
                    <a:pt x="2946" y="1351"/>
                    <a:pt x="2958" y="1355"/>
                    <a:pt x="2970" y="1358"/>
                  </a:cubicBezTo>
                  <a:cubicBezTo>
                    <a:pt x="2994" y="1366"/>
                    <a:pt x="3018" y="1374"/>
                    <a:pt x="3036" y="1380"/>
                  </a:cubicBezTo>
                  <a:cubicBezTo>
                    <a:pt x="3054" y="1387"/>
                    <a:pt x="3066" y="1391"/>
                    <a:pt x="3066" y="1391"/>
                  </a:cubicBezTo>
                  <a:cubicBezTo>
                    <a:pt x="3075" y="1365"/>
                    <a:pt x="3075" y="1365"/>
                    <a:pt x="3075" y="1365"/>
                  </a:cubicBezTo>
                  <a:cubicBezTo>
                    <a:pt x="3075" y="1365"/>
                    <a:pt x="3063" y="1361"/>
                    <a:pt x="3045" y="1355"/>
                  </a:cubicBezTo>
                  <a:cubicBezTo>
                    <a:pt x="3027" y="1348"/>
                    <a:pt x="3002" y="1341"/>
                    <a:pt x="2978" y="1333"/>
                  </a:cubicBezTo>
                  <a:close/>
                  <a:moveTo>
                    <a:pt x="2579" y="1243"/>
                  </a:moveTo>
                  <a:cubicBezTo>
                    <a:pt x="2553" y="1239"/>
                    <a:pt x="2528" y="1236"/>
                    <a:pt x="2509" y="1234"/>
                  </a:cubicBezTo>
                  <a:cubicBezTo>
                    <a:pt x="2490" y="1231"/>
                    <a:pt x="2477" y="1230"/>
                    <a:pt x="2477" y="1230"/>
                  </a:cubicBezTo>
                  <a:cubicBezTo>
                    <a:pt x="2474" y="1254"/>
                    <a:pt x="2474" y="1254"/>
                    <a:pt x="2474" y="1254"/>
                  </a:cubicBezTo>
                  <a:cubicBezTo>
                    <a:pt x="2474" y="1254"/>
                    <a:pt x="2487" y="1256"/>
                    <a:pt x="2506" y="1258"/>
                  </a:cubicBezTo>
                  <a:cubicBezTo>
                    <a:pt x="2525" y="1260"/>
                    <a:pt x="2550" y="1264"/>
                    <a:pt x="2575" y="1268"/>
                  </a:cubicBezTo>
                  <a:cubicBezTo>
                    <a:pt x="2600" y="1271"/>
                    <a:pt x="2625" y="1275"/>
                    <a:pt x="2644" y="1279"/>
                  </a:cubicBezTo>
                  <a:cubicBezTo>
                    <a:pt x="2663" y="1282"/>
                    <a:pt x="2675" y="1284"/>
                    <a:pt x="2675" y="1284"/>
                  </a:cubicBezTo>
                  <a:cubicBezTo>
                    <a:pt x="2680" y="1259"/>
                    <a:pt x="2680" y="1259"/>
                    <a:pt x="2680" y="1259"/>
                  </a:cubicBezTo>
                  <a:cubicBezTo>
                    <a:pt x="2680" y="1259"/>
                    <a:pt x="2667" y="1257"/>
                    <a:pt x="2648" y="1254"/>
                  </a:cubicBezTo>
                  <a:cubicBezTo>
                    <a:pt x="2629" y="1251"/>
                    <a:pt x="2604" y="1247"/>
                    <a:pt x="2579" y="1243"/>
                  </a:cubicBezTo>
                  <a:close/>
                  <a:moveTo>
                    <a:pt x="3591" y="2521"/>
                  </a:moveTo>
                  <a:cubicBezTo>
                    <a:pt x="3589" y="2526"/>
                    <a:pt x="3587" y="2533"/>
                    <a:pt x="3583" y="2542"/>
                  </a:cubicBezTo>
                  <a:cubicBezTo>
                    <a:pt x="3577" y="2560"/>
                    <a:pt x="3567" y="2583"/>
                    <a:pt x="3557" y="2606"/>
                  </a:cubicBezTo>
                  <a:cubicBezTo>
                    <a:pt x="3547" y="2629"/>
                    <a:pt x="3536" y="2652"/>
                    <a:pt x="3528" y="2668"/>
                  </a:cubicBezTo>
                  <a:cubicBezTo>
                    <a:pt x="3519" y="2685"/>
                    <a:pt x="3513" y="2696"/>
                    <a:pt x="3513" y="2696"/>
                  </a:cubicBezTo>
                  <a:cubicBezTo>
                    <a:pt x="3544" y="2713"/>
                    <a:pt x="3544" y="2713"/>
                    <a:pt x="3544" y="2713"/>
                  </a:cubicBezTo>
                  <a:cubicBezTo>
                    <a:pt x="3544" y="2713"/>
                    <a:pt x="3550" y="2701"/>
                    <a:pt x="3558" y="2684"/>
                  </a:cubicBezTo>
                  <a:cubicBezTo>
                    <a:pt x="3567" y="2667"/>
                    <a:pt x="3578" y="2643"/>
                    <a:pt x="3589" y="2620"/>
                  </a:cubicBezTo>
                  <a:cubicBezTo>
                    <a:pt x="3599" y="2596"/>
                    <a:pt x="3608" y="2572"/>
                    <a:pt x="3615" y="2554"/>
                  </a:cubicBezTo>
                  <a:cubicBezTo>
                    <a:pt x="3618" y="2545"/>
                    <a:pt x="3621" y="2537"/>
                    <a:pt x="3623" y="2532"/>
                  </a:cubicBezTo>
                  <a:cubicBezTo>
                    <a:pt x="3625" y="2527"/>
                    <a:pt x="3626" y="2524"/>
                    <a:pt x="3626" y="2524"/>
                  </a:cubicBezTo>
                  <a:cubicBezTo>
                    <a:pt x="3594" y="2512"/>
                    <a:pt x="3594" y="2512"/>
                    <a:pt x="3594" y="2512"/>
                  </a:cubicBezTo>
                  <a:cubicBezTo>
                    <a:pt x="3594" y="2512"/>
                    <a:pt x="3593" y="2515"/>
                    <a:pt x="3591" y="2521"/>
                  </a:cubicBezTo>
                  <a:close/>
                  <a:moveTo>
                    <a:pt x="3682" y="2148"/>
                  </a:moveTo>
                  <a:cubicBezTo>
                    <a:pt x="3682" y="2138"/>
                    <a:pt x="3682" y="2130"/>
                    <a:pt x="3681" y="2124"/>
                  </a:cubicBezTo>
                  <a:cubicBezTo>
                    <a:pt x="3681" y="2119"/>
                    <a:pt x="3681" y="2116"/>
                    <a:pt x="3681" y="2116"/>
                  </a:cubicBezTo>
                  <a:cubicBezTo>
                    <a:pt x="3649" y="2118"/>
                    <a:pt x="3649" y="2118"/>
                    <a:pt x="3649" y="2118"/>
                  </a:cubicBezTo>
                  <a:cubicBezTo>
                    <a:pt x="3649" y="2118"/>
                    <a:pt x="3649" y="2121"/>
                    <a:pt x="3649" y="2126"/>
                  </a:cubicBezTo>
                  <a:cubicBezTo>
                    <a:pt x="3650" y="2132"/>
                    <a:pt x="3650" y="2140"/>
                    <a:pt x="3650" y="2149"/>
                  </a:cubicBezTo>
                  <a:cubicBezTo>
                    <a:pt x="3651" y="2168"/>
                    <a:pt x="3651" y="2193"/>
                    <a:pt x="3650" y="2218"/>
                  </a:cubicBezTo>
                  <a:cubicBezTo>
                    <a:pt x="3649" y="2243"/>
                    <a:pt x="3647" y="2268"/>
                    <a:pt x="3645" y="2287"/>
                  </a:cubicBezTo>
                  <a:cubicBezTo>
                    <a:pt x="3644" y="2296"/>
                    <a:pt x="3643" y="2304"/>
                    <a:pt x="3642" y="2309"/>
                  </a:cubicBezTo>
                  <a:cubicBezTo>
                    <a:pt x="3642" y="2315"/>
                    <a:pt x="3641" y="2318"/>
                    <a:pt x="3641" y="2318"/>
                  </a:cubicBezTo>
                  <a:cubicBezTo>
                    <a:pt x="3674" y="2322"/>
                    <a:pt x="3674" y="2322"/>
                    <a:pt x="3674" y="2322"/>
                  </a:cubicBezTo>
                  <a:cubicBezTo>
                    <a:pt x="3674" y="2322"/>
                    <a:pt x="3674" y="2319"/>
                    <a:pt x="3675" y="2313"/>
                  </a:cubicBezTo>
                  <a:cubicBezTo>
                    <a:pt x="3676" y="2308"/>
                    <a:pt x="3677" y="2300"/>
                    <a:pt x="3678" y="2290"/>
                  </a:cubicBezTo>
                  <a:cubicBezTo>
                    <a:pt x="3680" y="2271"/>
                    <a:pt x="3682" y="2245"/>
                    <a:pt x="3682" y="2219"/>
                  </a:cubicBezTo>
                  <a:cubicBezTo>
                    <a:pt x="3683" y="2193"/>
                    <a:pt x="3683" y="2167"/>
                    <a:pt x="3682" y="2148"/>
                  </a:cubicBezTo>
                  <a:close/>
                  <a:moveTo>
                    <a:pt x="2076" y="230"/>
                  </a:moveTo>
                  <a:cubicBezTo>
                    <a:pt x="2082" y="230"/>
                    <a:pt x="2088" y="229"/>
                    <a:pt x="2094" y="229"/>
                  </a:cubicBezTo>
                  <a:cubicBezTo>
                    <a:pt x="2083" y="211"/>
                    <a:pt x="2068" y="197"/>
                    <a:pt x="2052" y="185"/>
                  </a:cubicBezTo>
                  <a:cubicBezTo>
                    <a:pt x="2032" y="169"/>
                    <a:pt x="2010" y="156"/>
                    <a:pt x="1987" y="145"/>
                  </a:cubicBezTo>
                  <a:cubicBezTo>
                    <a:pt x="1974" y="139"/>
                    <a:pt x="1961" y="133"/>
                    <a:pt x="1948" y="128"/>
                  </a:cubicBezTo>
                  <a:cubicBezTo>
                    <a:pt x="1948" y="133"/>
                    <a:pt x="1947" y="139"/>
                    <a:pt x="1946" y="144"/>
                  </a:cubicBezTo>
                  <a:cubicBezTo>
                    <a:pt x="1958" y="149"/>
                    <a:pt x="1969" y="154"/>
                    <a:pt x="1980" y="159"/>
                  </a:cubicBezTo>
                  <a:cubicBezTo>
                    <a:pt x="2002" y="170"/>
                    <a:pt x="2023" y="182"/>
                    <a:pt x="2043" y="197"/>
                  </a:cubicBezTo>
                  <a:cubicBezTo>
                    <a:pt x="2055" y="207"/>
                    <a:pt x="2066" y="218"/>
                    <a:pt x="2076" y="230"/>
                  </a:cubicBezTo>
                  <a:close/>
                  <a:moveTo>
                    <a:pt x="1949" y="472"/>
                  </a:moveTo>
                  <a:cubicBezTo>
                    <a:pt x="1906" y="496"/>
                    <a:pt x="1861" y="515"/>
                    <a:pt x="1816" y="532"/>
                  </a:cubicBezTo>
                  <a:cubicBezTo>
                    <a:pt x="1814" y="533"/>
                    <a:pt x="1812" y="534"/>
                    <a:pt x="1810" y="535"/>
                  </a:cubicBezTo>
                  <a:cubicBezTo>
                    <a:pt x="1813" y="539"/>
                    <a:pt x="1816" y="544"/>
                    <a:pt x="1819" y="549"/>
                  </a:cubicBezTo>
                  <a:cubicBezTo>
                    <a:pt x="1820" y="549"/>
                    <a:pt x="1821" y="549"/>
                    <a:pt x="1822" y="548"/>
                  </a:cubicBezTo>
                  <a:cubicBezTo>
                    <a:pt x="1868" y="531"/>
                    <a:pt x="1914" y="511"/>
                    <a:pt x="1957" y="486"/>
                  </a:cubicBezTo>
                  <a:cubicBezTo>
                    <a:pt x="1961" y="484"/>
                    <a:pt x="1965" y="482"/>
                    <a:pt x="1969" y="480"/>
                  </a:cubicBezTo>
                  <a:cubicBezTo>
                    <a:pt x="1963" y="477"/>
                    <a:pt x="1958" y="474"/>
                    <a:pt x="1952" y="470"/>
                  </a:cubicBezTo>
                  <a:cubicBezTo>
                    <a:pt x="1951" y="471"/>
                    <a:pt x="1950" y="471"/>
                    <a:pt x="1949" y="472"/>
                  </a:cubicBezTo>
                  <a:close/>
                  <a:moveTo>
                    <a:pt x="1835" y="1182"/>
                  </a:moveTo>
                  <a:cubicBezTo>
                    <a:pt x="1816" y="1180"/>
                    <a:pt x="1790" y="1179"/>
                    <a:pt x="1765" y="1178"/>
                  </a:cubicBezTo>
                  <a:cubicBezTo>
                    <a:pt x="1739" y="1177"/>
                    <a:pt x="1714" y="1176"/>
                    <a:pt x="1695" y="1175"/>
                  </a:cubicBezTo>
                  <a:cubicBezTo>
                    <a:pt x="1676" y="1174"/>
                    <a:pt x="1663" y="1173"/>
                    <a:pt x="1663" y="1173"/>
                  </a:cubicBezTo>
                  <a:cubicBezTo>
                    <a:pt x="1662" y="1194"/>
                    <a:pt x="1662" y="1194"/>
                    <a:pt x="1662" y="1194"/>
                  </a:cubicBezTo>
                  <a:cubicBezTo>
                    <a:pt x="1662" y="1194"/>
                    <a:pt x="1675" y="1195"/>
                    <a:pt x="1694" y="1196"/>
                  </a:cubicBezTo>
                  <a:cubicBezTo>
                    <a:pt x="1713" y="1197"/>
                    <a:pt x="1738" y="1198"/>
                    <a:pt x="1764" y="1199"/>
                  </a:cubicBezTo>
                  <a:cubicBezTo>
                    <a:pt x="1789" y="1200"/>
                    <a:pt x="1815" y="1202"/>
                    <a:pt x="1834" y="1203"/>
                  </a:cubicBezTo>
                  <a:cubicBezTo>
                    <a:pt x="1843" y="1204"/>
                    <a:pt x="1851" y="1204"/>
                    <a:pt x="1857" y="1205"/>
                  </a:cubicBezTo>
                  <a:cubicBezTo>
                    <a:pt x="1862" y="1205"/>
                    <a:pt x="1865" y="1205"/>
                    <a:pt x="1865" y="1205"/>
                  </a:cubicBezTo>
                  <a:cubicBezTo>
                    <a:pt x="1867" y="1184"/>
                    <a:pt x="1867" y="1184"/>
                    <a:pt x="1867" y="1184"/>
                  </a:cubicBezTo>
                  <a:cubicBezTo>
                    <a:pt x="1867" y="1184"/>
                    <a:pt x="1864" y="1184"/>
                    <a:pt x="1858" y="1183"/>
                  </a:cubicBezTo>
                  <a:cubicBezTo>
                    <a:pt x="1853" y="1183"/>
                    <a:pt x="1845" y="1182"/>
                    <a:pt x="1835" y="1182"/>
                  </a:cubicBezTo>
                  <a:close/>
                  <a:moveTo>
                    <a:pt x="2069" y="1220"/>
                  </a:moveTo>
                  <a:cubicBezTo>
                    <a:pt x="2272" y="1234"/>
                    <a:pt x="2272" y="1234"/>
                    <a:pt x="2272" y="1234"/>
                  </a:cubicBezTo>
                  <a:cubicBezTo>
                    <a:pt x="2274" y="1211"/>
                    <a:pt x="2274" y="1211"/>
                    <a:pt x="2274" y="1211"/>
                  </a:cubicBezTo>
                  <a:cubicBezTo>
                    <a:pt x="2070" y="1197"/>
                    <a:pt x="2070" y="1197"/>
                    <a:pt x="2070" y="1197"/>
                  </a:cubicBezTo>
                  <a:lnTo>
                    <a:pt x="2069" y="1220"/>
                  </a:lnTo>
                  <a:close/>
                  <a:moveTo>
                    <a:pt x="2100" y="361"/>
                  </a:moveTo>
                  <a:cubicBezTo>
                    <a:pt x="2105" y="349"/>
                    <a:pt x="2110" y="337"/>
                    <a:pt x="2113" y="324"/>
                  </a:cubicBezTo>
                  <a:cubicBezTo>
                    <a:pt x="2113" y="321"/>
                    <a:pt x="2114" y="319"/>
                    <a:pt x="2114" y="316"/>
                  </a:cubicBezTo>
                  <a:cubicBezTo>
                    <a:pt x="2113" y="316"/>
                    <a:pt x="2113" y="316"/>
                    <a:pt x="2112" y="316"/>
                  </a:cubicBezTo>
                  <a:cubicBezTo>
                    <a:pt x="2107" y="316"/>
                    <a:pt x="2102" y="316"/>
                    <a:pt x="2098" y="316"/>
                  </a:cubicBezTo>
                  <a:cubicBezTo>
                    <a:pt x="2097" y="317"/>
                    <a:pt x="2097" y="319"/>
                    <a:pt x="2097" y="320"/>
                  </a:cubicBezTo>
                  <a:cubicBezTo>
                    <a:pt x="2094" y="332"/>
                    <a:pt x="2090" y="343"/>
                    <a:pt x="2085" y="354"/>
                  </a:cubicBezTo>
                  <a:cubicBezTo>
                    <a:pt x="2080" y="365"/>
                    <a:pt x="2073" y="375"/>
                    <a:pt x="2066" y="384"/>
                  </a:cubicBezTo>
                  <a:cubicBezTo>
                    <a:pt x="2051" y="403"/>
                    <a:pt x="2033" y="419"/>
                    <a:pt x="2013" y="432"/>
                  </a:cubicBezTo>
                  <a:cubicBezTo>
                    <a:pt x="2019" y="435"/>
                    <a:pt x="2024" y="437"/>
                    <a:pt x="2030" y="439"/>
                  </a:cubicBezTo>
                  <a:cubicBezTo>
                    <a:pt x="2031" y="439"/>
                    <a:pt x="2031" y="439"/>
                    <a:pt x="2032" y="439"/>
                  </a:cubicBezTo>
                  <a:cubicBezTo>
                    <a:pt x="2049" y="426"/>
                    <a:pt x="2065" y="412"/>
                    <a:pt x="2079" y="395"/>
                  </a:cubicBezTo>
                  <a:cubicBezTo>
                    <a:pt x="2087" y="384"/>
                    <a:pt x="2094" y="373"/>
                    <a:pt x="2100" y="361"/>
                  </a:cubicBezTo>
                  <a:close/>
                  <a:moveTo>
                    <a:pt x="1733" y="579"/>
                  </a:moveTo>
                  <a:cubicBezTo>
                    <a:pt x="1730" y="574"/>
                    <a:pt x="1728" y="569"/>
                    <a:pt x="1725" y="564"/>
                  </a:cubicBezTo>
                  <a:cubicBezTo>
                    <a:pt x="1710" y="568"/>
                    <a:pt x="1695" y="573"/>
                    <a:pt x="1680" y="578"/>
                  </a:cubicBezTo>
                  <a:cubicBezTo>
                    <a:pt x="1638" y="591"/>
                    <a:pt x="1596" y="604"/>
                    <a:pt x="1555" y="618"/>
                  </a:cubicBezTo>
                  <a:cubicBezTo>
                    <a:pt x="1557" y="623"/>
                    <a:pt x="1559" y="628"/>
                    <a:pt x="1561" y="634"/>
                  </a:cubicBezTo>
                  <a:cubicBezTo>
                    <a:pt x="1601" y="620"/>
                    <a:pt x="1643" y="607"/>
                    <a:pt x="1685" y="594"/>
                  </a:cubicBezTo>
                  <a:cubicBezTo>
                    <a:pt x="1701" y="589"/>
                    <a:pt x="1717" y="584"/>
                    <a:pt x="1733" y="57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77"/>
            <p:cNvSpPr>
              <a:spLocks/>
            </p:cNvSpPr>
            <p:nvPr/>
          </p:nvSpPr>
          <p:spPr bwMode="auto">
            <a:xfrm>
              <a:off x="-3859698" y="1078717"/>
              <a:ext cx="10910891" cy="5975697"/>
            </a:xfrm>
            <a:custGeom>
              <a:avLst/>
              <a:gdLst>
                <a:gd name="T0" fmla="*/ 889 w 5391"/>
                <a:gd name="T1" fmla="*/ 185 h 2951"/>
                <a:gd name="T2" fmla="*/ 1785 w 5391"/>
                <a:gd name="T3" fmla="*/ 25 h 2951"/>
                <a:gd name="T4" fmla="*/ 2012 w 5391"/>
                <a:gd name="T5" fmla="*/ 1 h 2951"/>
                <a:gd name="T6" fmla="*/ 2126 w 5391"/>
                <a:gd name="T7" fmla="*/ 0 h 2951"/>
                <a:gd name="T8" fmla="*/ 2919 w 5391"/>
                <a:gd name="T9" fmla="*/ 83 h 2951"/>
                <a:gd name="T10" fmla="*/ 3021 w 5391"/>
                <a:gd name="T11" fmla="*/ 101 h 2951"/>
                <a:gd name="T12" fmla="*/ 3141 w 5391"/>
                <a:gd name="T13" fmla="*/ 132 h 2951"/>
                <a:gd name="T14" fmla="*/ 3485 w 5391"/>
                <a:gd name="T15" fmla="*/ 396 h 2951"/>
                <a:gd name="T16" fmla="*/ 3470 w 5391"/>
                <a:gd name="T17" fmla="*/ 473 h 2951"/>
                <a:gd name="T18" fmla="*/ 3439 w 5391"/>
                <a:gd name="T19" fmla="*/ 525 h 2951"/>
                <a:gd name="T20" fmla="*/ 3136 w 5391"/>
                <a:gd name="T21" fmla="*/ 676 h 2951"/>
                <a:gd name="T22" fmla="*/ 2748 w 5391"/>
                <a:gd name="T23" fmla="*/ 800 h 2951"/>
                <a:gd name="T24" fmla="*/ 2670 w 5391"/>
                <a:gd name="T25" fmla="*/ 873 h 2951"/>
                <a:gd name="T26" fmla="*/ 2687 w 5391"/>
                <a:gd name="T27" fmla="*/ 1019 h 2951"/>
                <a:gd name="T28" fmla="*/ 2707 w 5391"/>
                <a:gd name="T29" fmla="*/ 1039 h 2951"/>
                <a:gd name="T30" fmla="*/ 2731 w 5391"/>
                <a:gd name="T31" fmla="*/ 1056 h 2951"/>
                <a:gd name="T32" fmla="*/ 3000 w 5391"/>
                <a:gd name="T33" fmla="*/ 1121 h 2951"/>
                <a:gd name="T34" fmla="*/ 3350 w 5391"/>
                <a:gd name="T35" fmla="*/ 1126 h 2951"/>
                <a:gd name="T36" fmla="*/ 3375 w 5391"/>
                <a:gd name="T37" fmla="*/ 1125 h 2951"/>
                <a:gd name="T38" fmla="*/ 3956 w 5391"/>
                <a:gd name="T39" fmla="*/ 1134 h 2951"/>
                <a:gd name="T40" fmla="*/ 4852 w 5391"/>
                <a:gd name="T41" fmla="*/ 1453 h 2951"/>
                <a:gd name="T42" fmla="*/ 5176 w 5391"/>
                <a:gd name="T43" fmla="*/ 1757 h 2951"/>
                <a:gd name="T44" fmla="*/ 5301 w 5391"/>
                <a:gd name="T45" fmla="*/ 1963 h 2951"/>
                <a:gd name="T46" fmla="*/ 5383 w 5391"/>
                <a:gd name="T47" fmla="*/ 2228 h 2951"/>
                <a:gd name="T48" fmla="*/ 5353 w 5391"/>
                <a:gd name="T49" fmla="*/ 2458 h 2951"/>
                <a:gd name="T50" fmla="*/ 5347 w 5391"/>
                <a:gd name="T51" fmla="*/ 2512 h 2951"/>
                <a:gd name="T52" fmla="*/ 5344 w 5391"/>
                <a:gd name="T53" fmla="*/ 2595 h 2951"/>
                <a:gd name="T54" fmla="*/ 5345 w 5391"/>
                <a:gd name="T55" fmla="*/ 2620 h 2951"/>
                <a:gd name="T56" fmla="*/ 5382 w 5391"/>
                <a:gd name="T57" fmla="*/ 2808 h 2951"/>
                <a:gd name="T58" fmla="*/ 5390 w 5391"/>
                <a:gd name="T59" fmla="*/ 2873 h 2951"/>
                <a:gd name="T60" fmla="*/ 5386 w 5391"/>
                <a:gd name="T61" fmla="*/ 2939 h 2951"/>
                <a:gd name="T62" fmla="*/ 5350 w 5391"/>
                <a:gd name="T63" fmla="*/ 2915 h 2951"/>
                <a:gd name="T64" fmla="*/ 5370 w 5391"/>
                <a:gd name="T65" fmla="*/ 2915 h 2951"/>
                <a:gd name="T66" fmla="*/ 5369 w 5391"/>
                <a:gd name="T67" fmla="*/ 2853 h 2951"/>
                <a:gd name="T68" fmla="*/ 5336 w 5391"/>
                <a:gd name="T69" fmla="*/ 2686 h 2951"/>
                <a:gd name="T70" fmla="*/ 5325 w 5391"/>
                <a:gd name="T71" fmla="*/ 2601 h 2951"/>
                <a:gd name="T72" fmla="*/ 5325 w 5391"/>
                <a:gd name="T73" fmla="*/ 2589 h 2951"/>
                <a:gd name="T74" fmla="*/ 5328 w 5391"/>
                <a:gd name="T75" fmla="*/ 2509 h 2951"/>
                <a:gd name="T76" fmla="*/ 5336 w 5391"/>
                <a:gd name="T77" fmla="*/ 2438 h 2951"/>
                <a:gd name="T78" fmla="*/ 5333 w 5391"/>
                <a:gd name="T79" fmla="*/ 2096 h 2951"/>
                <a:gd name="T80" fmla="*/ 5182 w 5391"/>
                <a:gd name="T81" fmla="*/ 1795 h 2951"/>
                <a:gd name="T82" fmla="*/ 4951 w 5391"/>
                <a:gd name="T83" fmla="*/ 1548 h 2951"/>
                <a:gd name="T84" fmla="*/ 4222 w 5391"/>
                <a:gd name="T85" fmla="*/ 1196 h 2951"/>
                <a:gd name="T86" fmla="*/ 3409 w 5391"/>
                <a:gd name="T87" fmla="*/ 1137 h 2951"/>
                <a:gd name="T88" fmla="*/ 3352 w 5391"/>
                <a:gd name="T89" fmla="*/ 1138 h 2951"/>
                <a:gd name="T90" fmla="*/ 3136 w 5391"/>
                <a:gd name="T91" fmla="*/ 1138 h 2951"/>
                <a:gd name="T92" fmla="*/ 2733 w 5391"/>
                <a:gd name="T93" fmla="*/ 1070 h 2951"/>
                <a:gd name="T94" fmla="*/ 2704 w 5391"/>
                <a:gd name="T95" fmla="*/ 1050 h 2951"/>
                <a:gd name="T96" fmla="*/ 2685 w 5391"/>
                <a:gd name="T97" fmla="*/ 1032 h 2951"/>
                <a:gd name="T98" fmla="*/ 2657 w 5391"/>
                <a:gd name="T99" fmla="*/ 876 h 2951"/>
                <a:gd name="T100" fmla="*/ 2713 w 5391"/>
                <a:gd name="T101" fmla="*/ 810 h 2951"/>
                <a:gd name="T102" fmla="*/ 3067 w 5391"/>
                <a:gd name="T103" fmla="*/ 683 h 2951"/>
                <a:gd name="T104" fmla="*/ 3383 w 5391"/>
                <a:gd name="T105" fmla="*/ 565 h 2951"/>
                <a:gd name="T106" fmla="*/ 3459 w 5391"/>
                <a:gd name="T107" fmla="*/ 477 h 2951"/>
                <a:gd name="T108" fmla="*/ 3477 w 5391"/>
                <a:gd name="T109" fmla="*/ 397 h 2951"/>
                <a:gd name="T110" fmla="*/ 3139 w 5391"/>
                <a:gd name="T111" fmla="*/ 139 h 2951"/>
                <a:gd name="T112" fmla="*/ 3019 w 5391"/>
                <a:gd name="T113" fmla="*/ 108 h 2951"/>
                <a:gd name="T114" fmla="*/ 2918 w 5391"/>
                <a:gd name="T115" fmla="*/ 89 h 2951"/>
                <a:gd name="T116" fmla="*/ 2126 w 5391"/>
                <a:gd name="T117" fmla="*/ 5 h 2951"/>
                <a:gd name="T118" fmla="*/ 2012 w 5391"/>
                <a:gd name="T119" fmla="*/ 5 h 2951"/>
                <a:gd name="T120" fmla="*/ 1786 w 5391"/>
                <a:gd name="T121" fmla="*/ 30 h 2951"/>
                <a:gd name="T122" fmla="*/ 889 w 5391"/>
                <a:gd name="T123" fmla="*/ 187 h 2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91" h="2951">
                  <a:moveTo>
                    <a:pt x="0" y="382"/>
                  </a:moveTo>
                  <a:cubicBezTo>
                    <a:pt x="146" y="342"/>
                    <a:pt x="293" y="303"/>
                    <a:pt x="441" y="268"/>
                  </a:cubicBezTo>
                  <a:cubicBezTo>
                    <a:pt x="515" y="251"/>
                    <a:pt x="589" y="235"/>
                    <a:pt x="664" y="221"/>
                  </a:cubicBezTo>
                  <a:cubicBezTo>
                    <a:pt x="738" y="207"/>
                    <a:pt x="813" y="195"/>
                    <a:pt x="889" y="185"/>
                  </a:cubicBezTo>
                  <a:cubicBezTo>
                    <a:pt x="1039" y="164"/>
                    <a:pt x="1189" y="142"/>
                    <a:pt x="1338" y="111"/>
                  </a:cubicBezTo>
                  <a:cubicBezTo>
                    <a:pt x="1375" y="104"/>
                    <a:pt x="1412" y="95"/>
                    <a:pt x="1449" y="87"/>
                  </a:cubicBezTo>
                  <a:cubicBezTo>
                    <a:pt x="1486" y="79"/>
                    <a:pt x="1524" y="71"/>
                    <a:pt x="1561" y="64"/>
                  </a:cubicBezTo>
                  <a:cubicBezTo>
                    <a:pt x="1635" y="49"/>
                    <a:pt x="1710" y="35"/>
                    <a:pt x="1785" y="25"/>
                  </a:cubicBezTo>
                  <a:cubicBezTo>
                    <a:pt x="1814" y="22"/>
                    <a:pt x="1814" y="22"/>
                    <a:pt x="1814" y="22"/>
                  </a:cubicBezTo>
                  <a:cubicBezTo>
                    <a:pt x="1823" y="20"/>
                    <a:pt x="1832" y="19"/>
                    <a:pt x="1842" y="18"/>
                  </a:cubicBezTo>
                  <a:cubicBezTo>
                    <a:pt x="1860" y="14"/>
                    <a:pt x="1879" y="12"/>
                    <a:pt x="1898" y="9"/>
                  </a:cubicBezTo>
                  <a:cubicBezTo>
                    <a:pt x="1936" y="5"/>
                    <a:pt x="1974" y="2"/>
                    <a:pt x="2012" y="1"/>
                  </a:cubicBezTo>
                  <a:cubicBezTo>
                    <a:pt x="2021" y="0"/>
                    <a:pt x="2031" y="0"/>
                    <a:pt x="2040" y="0"/>
                  </a:cubicBezTo>
                  <a:cubicBezTo>
                    <a:pt x="2069" y="0"/>
                    <a:pt x="2069" y="0"/>
                    <a:pt x="2069" y="0"/>
                  </a:cubicBezTo>
                  <a:cubicBezTo>
                    <a:pt x="2097" y="0"/>
                    <a:pt x="2097" y="0"/>
                    <a:pt x="2097" y="0"/>
                  </a:cubicBezTo>
                  <a:cubicBezTo>
                    <a:pt x="2107" y="0"/>
                    <a:pt x="2116" y="0"/>
                    <a:pt x="2126" y="0"/>
                  </a:cubicBezTo>
                  <a:cubicBezTo>
                    <a:pt x="2164" y="1"/>
                    <a:pt x="2202" y="3"/>
                    <a:pt x="2240" y="6"/>
                  </a:cubicBezTo>
                  <a:cubicBezTo>
                    <a:pt x="2315" y="11"/>
                    <a:pt x="2391" y="18"/>
                    <a:pt x="2467" y="26"/>
                  </a:cubicBezTo>
                  <a:cubicBezTo>
                    <a:pt x="2693" y="52"/>
                    <a:pt x="2693" y="52"/>
                    <a:pt x="2693" y="52"/>
                  </a:cubicBezTo>
                  <a:cubicBezTo>
                    <a:pt x="2768" y="61"/>
                    <a:pt x="2844" y="71"/>
                    <a:pt x="2919" y="83"/>
                  </a:cubicBezTo>
                  <a:cubicBezTo>
                    <a:pt x="2937" y="86"/>
                    <a:pt x="2956" y="89"/>
                    <a:pt x="2975" y="92"/>
                  </a:cubicBezTo>
                  <a:cubicBezTo>
                    <a:pt x="2984" y="94"/>
                    <a:pt x="2994" y="96"/>
                    <a:pt x="3003" y="97"/>
                  </a:cubicBezTo>
                  <a:cubicBezTo>
                    <a:pt x="3017" y="100"/>
                    <a:pt x="3017" y="100"/>
                    <a:pt x="3017" y="100"/>
                  </a:cubicBezTo>
                  <a:cubicBezTo>
                    <a:pt x="3018" y="100"/>
                    <a:pt x="3019" y="100"/>
                    <a:pt x="3021" y="101"/>
                  </a:cubicBezTo>
                  <a:cubicBezTo>
                    <a:pt x="3024" y="102"/>
                    <a:pt x="3024" y="102"/>
                    <a:pt x="3024" y="102"/>
                  </a:cubicBezTo>
                  <a:cubicBezTo>
                    <a:pt x="3031" y="103"/>
                    <a:pt x="3031" y="103"/>
                    <a:pt x="3031" y="103"/>
                  </a:cubicBezTo>
                  <a:cubicBezTo>
                    <a:pt x="3086" y="118"/>
                    <a:pt x="3086" y="118"/>
                    <a:pt x="3086" y="118"/>
                  </a:cubicBezTo>
                  <a:cubicBezTo>
                    <a:pt x="3104" y="122"/>
                    <a:pt x="3123" y="127"/>
                    <a:pt x="3141" y="132"/>
                  </a:cubicBezTo>
                  <a:cubicBezTo>
                    <a:pt x="3178" y="142"/>
                    <a:pt x="3214" y="152"/>
                    <a:pt x="3250" y="166"/>
                  </a:cubicBezTo>
                  <a:cubicBezTo>
                    <a:pt x="3286" y="179"/>
                    <a:pt x="3321" y="195"/>
                    <a:pt x="3354" y="215"/>
                  </a:cubicBezTo>
                  <a:cubicBezTo>
                    <a:pt x="3386" y="235"/>
                    <a:pt x="3416" y="260"/>
                    <a:pt x="3440" y="291"/>
                  </a:cubicBezTo>
                  <a:cubicBezTo>
                    <a:pt x="3463" y="321"/>
                    <a:pt x="3479" y="358"/>
                    <a:pt x="3485" y="396"/>
                  </a:cubicBezTo>
                  <a:cubicBezTo>
                    <a:pt x="3486" y="396"/>
                    <a:pt x="3486" y="396"/>
                    <a:pt x="3486" y="396"/>
                  </a:cubicBezTo>
                  <a:cubicBezTo>
                    <a:pt x="3486" y="396"/>
                    <a:pt x="3486" y="396"/>
                    <a:pt x="3486" y="396"/>
                  </a:cubicBezTo>
                  <a:cubicBezTo>
                    <a:pt x="3486" y="420"/>
                    <a:pt x="3481" y="443"/>
                    <a:pt x="3474" y="465"/>
                  </a:cubicBezTo>
                  <a:cubicBezTo>
                    <a:pt x="3473" y="467"/>
                    <a:pt x="3472" y="470"/>
                    <a:pt x="3470" y="473"/>
                  </a:cubicBezTo>
                  <a:cubicBezTo>
                    <a:pt x="3467" y="481"/>
                    <a:pt x="3467" y="481"/>
                    <a:pt x="3467" y="481"/>
                  </a:cubicBezTo>
                  <a:cubicBezTo>
                    <a:pt x="3466" y="483"/>
                    <a:pt x="3464" y="486"/>
                    <a:pt x="3463" y="489"/>
                  </a:cubicBezTo>
                  <a:cubicBezTo>
                    <a:pt x="3462" y="491"/>
                    <a:pt x="3461" y="494"/>
                    <a:pt x="3459" y="496"/>
                  </a:cubicBezTo>
                  <a:cubicBezTo>
                    <a:pt x="3453" y="507"/>
                    <a:pt x="3446" y="516"/>
                    <a:pt x="3439" y="525"/>
                  </a:cubicBezTo>
                  <a:cubicBezTo>
                    <a:pt x="3424" y="543"/>
                    <a:pt x="3407" y="558"/>
                    <a:pt x="3388" y="572"/>
                  </a:cubicBezTo>
                  <a:cubicBezTo>
                    <a:pt x="3370" y="586"/>
                    <a:pt x="3350" y="597"/>
                    <a:pt x="3329" y="608"/>
                  </a:cubicBezTo>
                  <a:cubicBezTo>
                    <a:pt x="3288" y="628"/>
                    <a:pt x="3245" y="644"/>
                    <a:pt x="3202" y="657"/>
                  </a:cubicBezTo>
                  <a:cubicBezTo>
                    <a:pt x="3180" y="664"/>
                    <a:pt x="3158" y="670"/>
                    <a:pt x="3136" y="676"/>
                  </a:cubicBezTo>
                  <a:cubicBezTo>
                    <a:pt x="3113" y="681"/>
                    <a:pt x="3091" y="687"/>
                    <a:pt x="3069" y="692"/>
                  </a:cubicBezTo>
                  <a:cubicBezTo>
                    <a:pt x="3025" y="703"/>
                    <a:pt x="2981" y="714"/>
                    <a:pt x="2937" y="726"/>
                  </a:cubicBezTo>
                  <a:cubicBezTo>
                    <a:pt x="2894" y="739"/>
                    <a:pt x="2850" y="753"/>
                    <a:pt x="2808" y="770"/>
                  </a:cubicBezTo>
                  <a:cubicBezTo>
                    <a:pt x="2788" y="779"/>
                    <a:pt x="2767" y="788"/>
                    <a:pt x="2748" y="800"/>
                  </a:cubicBezTo>
                  <a:cubicBezTo>
                    <a:pt x="2738" y="805"/>
                    <a:pt x="2728" y="811"/>
                    <a:pt x="2719" y="818"/>
                  </a:cubicBezTo>
                  <a:cubicBezTo>
                    <a:pt x="2710" y="825"/>
                    <a:pt x="2702" y="832"/>
                    <a:pt x="2694" y="840"/>
                  </a:cubicBezTo>
                  <a:cubicBezTo>
                    <a:pt x="2686" y="847"/>
                    <a:pt x="2679" y="856"/>
                    <a:pt x="2674" y="865"/>
                  </a:cubicBezTo>
                  <a:cubicBezTo>
                    <a:pt x="2670" y="873"/>
                    <a:pt x="2670" y="873"/>
                    <a:pt x="2670" y="873"/>
                  </a:cubicBezTo>
                  <a:cubicBezTo>
                    <a:pt x="2668" y="875"/>
                    <a:pt x="2667" y="878"/>
                    <a:pt x="2666" y="880"/>
                  </a:cubicBezTo>
                  <a:cubicBezTo>
                    <a:pt x="2664" y="885"/>
                    <a:pt x="2662" y="890"/>
                    <a:pt x="2661" y="895"/>
                  </a:cubicBezTo>
                  <a:cubicBezTo>
                    <a:pt x="2655" y="916"/>
                    <a:pt x="2653" y="939"/>
                    <a:pt x="2659" y="960"/>
                  </a:cubicBezTo>
                  <a:cubicBezTo>
                    <a:pt x="2663" y="982"/>
                    <a:pt x="2673" y="1002"/>
                    <a:pt x="2687" y="1019"/>
                  </a:cubicBezTo>
                  <a:cubicBezTo>
                    <a:pt x="2689" y="1021"/>
                    <a:pt x="2691" y="1023"/>
                    <a:pt x="2693" y="1025"/>
                  </a:cubicBezTo>
                  <a:cubicBezTo>
                    <a:pt x="2695" y="1027"/>
                    <a:pt x="2696" y="1029"/>
                    <a:pt x="2698" y="1031"/>
                  </a:cubicBezTo>
                  <a:cubicBezTo>
                    <a:pt x="2704" y="1036"/>
                    <a:pt x="2704" y="1036"/>
                    <a:pt x="2704" y="1036"/>
                  </a:cubicBezTo>
                  <a:cubicBezTo>
                    <a:pt x="2707" y="1039"/>
                    <a:pt x="2707" y="1039"/>
                    <a:pt x="2707" y="1039"/>
                  </a:cubicBezTo>
                  <a:cubicBezTo>
                    <a:pt x="2711" y="1042"/>
                    <a:pt x="2711" y="1042"/>
                    <a:pt x="2711" y="1042"/>
                  </a:cubicBezTo>
                  <a:cubicBezTo>
                    <a:pt x="2713" y="1043"/>
                    <a:pt x="2715" y="1045"/>
                    <a:pt x="2717" y="1047"/>
                  </a:cubicBezTo>
                  <a:cubicBezTo>
                    <a:pt x="2724" y="1051"/>
                    <a:pt x="2724" y="1051"/>
                    <a:pt x="2724" y="1051"/>
                  </a:cubicBezTo>
                  <a:cubicBezTo>
                    <a:pt x="2726" y="1053"/>
                    <a:pt x="2729" y="1054"/>
                    <a:pt x="2731" y="1056"/>
                  </a:cubicBezTo>
                  <a:cubicBezTo>
                    <a:pt x="2734" y="1057"/>
                    <a:pt x="2736" y="1059"/>
                    <a:pt x="2738" y="1060"/>
                  </a:cubicBezTo>
                  <a:cubicBezTo>
                    <a:pt x="2758" y="1071"/>
                    <a:pt x="2779" y="1080"/>
                    <a:pt x="2800" y="1087"/>
                  </a:cubicBezTo>
                  <a:cubicBezTo>
                    <a:pt x="2821" y="1094"/>
                    <a:pt x="2843" y="1099"/>
                    <a:pt x="2865" y="1104"/>
                  </a:cubicBezTo>
                  <a:cubicBezTo>
                    <a:pt x="2910" y="1112"/>
                    <a:pt x="2955" y="1117"/>
                    <a:pt x="3000" y="1121"/>
                  </a:cubicBezTo>
                  <a:cubicBezTo>
                    <a:pt x="3045" y="1124"/>
                    <a:pt x="3091" y="1125"/>
                    <a:pt x="3136" y="1126"/>
                  </a:cubicBezTo>
                  <a:cubicBezTo>
                    <a:pt x="3182" y="1126"/>
                    <a:pt x="3227" y="1126"/>
                    <a:pt x="3273" y="1126"/>
                  </a:cubicBezTo>
                  <a:cubicBezTo>
                    <a:pt x="3295" y="1126"/>
                    <a:pt x="3318" y="1126"/>
                    <a:pt x="3341" y="1126"/>
                  </a:cubicBezTo>
                  <a:cubicBezTo>
                    <a:pt x="3350" y="1126"/>
                    <a:pt x="3350" y="1126"/>
                    <a:pt x="3350" y="1126"/>
                  </a:cubicBezTo>
                  <a:cubicBezTo>
                    <a:pt x="3352" y="1126"/>
                    <a:pt x="3352" y="1126"/>
                    <a:pt x="3352" y="1126"/>
                  </a:cubicBezTo>
                  <a:cubicBezTo>
                    <a:pt x="3354" y="1126"/>
                    <a:pt x="3354" y="1126"/>
                    <a:pt x="3354" y="1126"/>
                  </a:cubicBezTo>
                  <a:cubicBezTo>
                    <a:pt x="3358" y="1126"/>
                    <a:pt x="3358" y="1126"/>
                    <a:pt x="3358" y="1126"/>
                  </a:cubicBezTo>
                  <a:cubicBezTo>
                    <a:pt x="3375" y="1125"/>
                    <a:pt x="3375" y="1125"/>
                    <a:pt x="3375" y="1125"/>
                  </a:cubicBezTo>
                  <a:cubicBezTo>
                    <a:pt x="3409" y="1125"/>
                    <a:pt x="3409" y="1125"/>
                    <a:pt x="3409" y="1125"/>
                  </a:cubicBezTo>
                  <a:cubicBezTo>
                    <a:pt x="3682" y="1120"/>
                    <a:pt x="3682" y="1120"/>
                    <a:pt x="3682" y="1120"/>
                  </a:cubicBezTo>
                  <a:cubicBezTo>
                    <a:pt x="3728" y="1119"/>
                    <a:pt x="3774" y="1120"/>
                    <a:pt x="3819" y="1123"/>
                  </a:cubicBezTo>
                  <a:cubicBezTo>
                    <a:pt x="3865" y="1125"/>
                    <a:pt x="3911" y="1129"/>
                    <a:pt x="3956" y="1134"/>
                  </a:cubicBezTo>
                  <a:cubicBezTo>
                    <a:pt x="4047" y="1144"/>
                    <a:pt x="4137" y="1160"/>
                    <a:pt x="4226" y="1182"/>
                  </a:cubicBezTo>
                  <a:cubicBezTo>
                    <a:pt x="4315" y="1203"/>
                    <a:pt x="4402" y="1230"/>
                    <a:pt x="4487" y="1263"/>
                  </a:cubicBezTo>
                  <a:cubicBezTo>
                    <a:pt x="4573" y="1296"/>
                    <a:pt x="4656" y="1335"/>
                    <a:pt x="4735" y="1380"/>
                  </a:cubicBezTo>
                  <a:cubicBezTo>
                    <a:pt x="4775" y="1403"/>
                    <a:pt x="4814" y="1427"/>
                    <a:pt x="4852" y="1453"/>
                  </a:cubicBezTo>
                  <a:cubicBezTo>
                    <a:pt x="4889" y="1479"/>
                    <a:pt x="4926" y="1506"/>
                    <a:pt x="4961" y="1535"/>
                  </a:cubicBezTo>
                  <a:cubicBezTo>
                    <a:pt x="4997" y="1564"/>
                    <a:pt x="5031" y="1595"/>
                    <a:pt x="5063" y="1628"/>
                  </a:cubicBezTo>
                  <a:cubicBezTo>
                    <a:pt x="5095" y="1660"/>
                    <a:pt x="5126" y="1694"/>
                    <a:pt x="5155" y="1730"/>
                  </a:cubicBezTo>
                  <a:cubicBezTo>
                    <a:pt x="5162" y="1739"/>
                    <a:pt x="5169" y="1748"/>
                    <a:pt x="5176" y="1757"/>
                  </a:cubicBezTo>
                  <a:cubicBezTo>
                    <a:pt x="5183" y="1766"/>
                    <a:pt x="5190" y="1775"/>
                    <a:pt x="5196" y="1785"/>
                  </a:cubicBezTo>
                  <a:cubicBezTo>
                    <a:pt x="5203" y="1794"/>
                    <a:pt x="5210" y="1803"/>
                    <a:pt x="5216" y="1813"/>
                  </a:cubicBezTo>
                  <a:cubicBezTo>
                    <a:pt x="5223" y="1822"/>
                    <a:pt x="5229" y="1832"/>
                    <a:pt x="5235" y="1842"/>
                  </a:cubicBezTo>
                  <a:cubicBezTo>
                    <a:pt x="5259" y="1881"/>
                    <a:pt x="5281" y="1921"/>
                    <a:pt x="5301" y="1963"/>
                  </a:cubicBezTo>
                  <a:cubicBezTo>
                    <a:pt x="5320" y="2004"/>
                    <a:pt x="5336" y="2047"/>
                    <a:pt x="5350" y="2091"/>
                  </a:cubicBezTo>
                  <a:cubicBezTo>
                    <a:pt x="5364" y="2135"/>
                    <a:pt x="5374" y="2180"/>
                    <a:pt x="5383" y="2225"/>
                  </a:cubicBezTo>
                  <a:cubicBezTo>
                    <a:pt x="5383" y="2226"/>
                    <a:pt x="5383" y="2226"/>
                    <a:pt x="5383" y="2226"/>
                  </a:cubicBezTo>
                  <a:cubicBezTo>
                    <a:pt x="5383" y="2228"/>
                    <a:pt x="5383" y="2228"/>
                    <a:pt x="5383" y="2228"/>
                  </a:cubicBezTo>
                  <a:cubicBezTo>
                    <a:pt x="5364" y="2369"/>
                    <a:pt x="5364" y="2369"/>
                    <a:pt x="5364" y="2369"/>
                  </a:cubicBezTo>
                  <a:cubicBezTo>
                    <a:pt x="5355" y="2440"/>
                    <a:pt x="5355" y="2440"/>
                    <a:pt x="5355" y="2440"/>
                  </a:cubicBezTo>
                  <a:cubicBezTo>
                    <a:pt x="5354" y="2449"/>
                    <a:pt x="5354" y="2449"/>
                    <a:pt x="5354" y="2449"/>
                  </a:cubicBezTo>
                  <a:cubicBezTo>
                    <a:pt x="5353" y="2458"/>
                    <a:pt x="5353" y="2458"/>
                    <a:pt x="5353" y="2458"/>
                  </a:cubicBezTo>
                  <a:cubicBezTo>
                    <a:pt x="5351" y="2475"/>
                    <a:pt x="5351" y="2475"/>
                    <a:pt x="5351" y="2475"/>
                  </a:cubicBezTo>
                  <a:cubicBezTo>
                    <a:pt x="5347" y="2511"/>
                    <a:pt x="5347" y="2511"/>
                    <a:pt x="5347" y="2511"/>
                  </a:cubicBezTo>
                  <a:cubicBezTo>
                    <a:pt x="5347" y="2512"/>
                    <a:pt x="5347" y="2512"/>
                    <a:pt x="5347" y="2512"/>
                  </a:cubicBezTo>
                  <a:cubicBezTo>
                    <a:pt x="5347" y="2512"/>
                    <a:pt x="5347" y="2512"/>
                    <a:pt x="5347" y="2512"/>
                  </a:cubicBezTo>
                  <a:cubicBezTo>
                    <a:pt x="5343" y="2526"/>
                    <a:pt x="5343" y="2540"/>
                    <a:pt x="5343" y="2555"/>
                  </a:cubicBezTo>
                  <a:cubicBezTo>
                    <a:pt x="5343" y="2562"/>
                    <a:pt x="5343" y="2569"/>
                    <a:pt x="5344" y="2577"/>
                  </a:cubicBezTo>
                  <a:cubicBezTo>
                    <a:pt x="5344" y="2581"/>
                    <a:pt x="5344" y="2585"/>
                    <a:pt x="5344" y="2589"/>
                  </a:cubicBezTo>
                  <a:cubicBezTo>
                    <a:pt x="5344" y="2591"/>
                    <a:pt x="5344" y="2593"/>
                    <a:pt x="5344" y="2595"/>
                  </a:cubicBezTo>
                  <a:cubicBezTo>
                    <a:pt x="5344" y="2597"/>
                    <a:pt x="5344" y="2599"/>
                    <a:pt x="5344" y="2601"/>
                  </a:cubicBezTo>
                  <a:cubicBezTo>
                    <a:pt x="5344" y="2599"/>
                    <a:pt x="5344" y="2599"/>
                    <a:pt x="5344" y="2599"/>
                  </a:cubicBezTo>
                  <a:cubicBezTo>
                    <a:pt x="5345" y="2610"/>
                    <a:pt x="5345" y="2610"/>
                    <a:pt x="5345" y="2610"/>
                  </a:cubicBezTo>
                  <a:cubicBezTo>
                    <a:pt x="5345" y="2620"/>
                    <a:pt x="5345" y="2620"/>
                    <a:pt x="5345" y="2620"/>
                  </a:cubicBezTo>
                  <a:cubicBezTo>
                    <a:pt x="5346" y="2627"/>
                    <a:pt x="5347" y="2634"/>
                    <a:pt x="5348" y="2641"/>
                  </a:cubicBezTo>
                  <a:cubicBezTo>
                    <a:pt x="5350" y="2655"/>
                    <a:pt x="5352" y="2669"/>
                    <a:pt x="5355" y="2683"/>
                  </a:cubicBezTo>
                  <a:cubicBezTo>
                    <a:pt x="5360" y="2710"/>
                    <a:pt x="5367" y="2738"/>
                    <a:pt x="5373" y="2766"/>
                  </a:cubicBezTo>
                  <a:cubicBezTo>
                    <a:pt x="5376" y="2780"/>
                    <a:pt x="5379" y="2794"/>
                    <a:pt x="5382" y="2808"/>
                  </a:cubicBezTo>
                  <a:cubicBezTo>
                    <a:pt x="5383" y="2815"/>
                    <a:pt x="5384" y="2822"/>
                    <a:pt x="5386" y="2829"/>
                  </a:cubicBezTo>
                  <a:cubicBezTo>
                    <a:pt x="5387" y="2836"/>
                    <a:pt x="5388" y="2844"/>
                    <a:pt x="5388" y="2851"/>
                  </a:cubicBezTo>
                  <a:cubicBezTo>
                    <a:pt x="5389" y="2854"/>
                    <a:pt x="5389" y="2858"/>
                    <a:pt x="5389" y="2862"/>
                  </a:cubicBezTo>
                  <a:cubicBezTo>
                    <a:pt x="5390" y="2865"/>
                    <a:pt x="5390" y="2869"/>
                    <a:pt x="5390" y="2873"/>
                  </a:cubicBezTo>
                  <a:cubicBezTo>
                    <a:pt x="5391" y="2880"/>
                    <a:pt x="5391" y="2887"/>
                    <a:pt x="5391" y="2895"/>
                  </a:cubicBezTo>
                  <a:cubicBezTo>
                    <a:pt x="5390" y="2902"/>
                    <a:pt x="5390" y="2909"/>
                    <a:pt x="5389" y="2917"/>
                  </a:cubicBezTo>
                  <a:cubicBezTo>
                    <a:pt x="5388" y="2928"/>
                    <a:pt x="5388" y="2928"/>
                    <a:pt x="5388" y="2928"/>
                  </a:cubicBezTo>
                  <a:cubicBezTo>
                    <a:pt x="5386" y="2939"/>
                    <a:pt x="5386" y="2939"/>
                    <a:pt x="5386" y="2939"/>
                  </a:cubicBezTo>
                  <a:cubicBezTo>
                    <a:pt x="5384" y="2951"/>
                    <a:pt x="5384" y="2951"/>
                    <a:pt x="5384" y="2951"/>
                  </a:cubicBezTo>
                  <a:cubicBezTo>
                    <a:pt x="5372" y="2946"/>
                    <a:pt x="5372" y="2946"/>
                    <a:pt x="5372" y="2946"/>
                  </a:cubicBezTo>
                  <a:cubicBezTo>
                    <a:pt x="5342" y="2934"/>
                    <a:pt x="5342" y="2934"/>
                    <a:pt x="5342" y="2934"/>
                  </a:cubicBezTo>
                  <a:cubicBezTo>
                    <a:pt x="5350" y="2915"/>
                    <a:pt x="5350" y="2915"/>
                    <a:pt x="5350" y="2915"/>
                  </a:cubicBezTo>
                  <a:cubicBezTo>
                    <a:pt x="5380" y="2928"/>
                    <a:pt x="5380" y="2928"/>
                    <a:pt x="5380" y="2928"/>
                  </a:cubicBezTo>
                  <a:cubicBezTo>
                    <a:pt x="5366" y="2935"/>
                    <a:pt x="5366" y="2935"/>
                    <a:pt x="5366" y="2935"/>
                  </a:cubicBezTo>
                  <a:cubicBezTo>
                    <a:pt x="5368" y="2925"/>
                    <a:pt x="5368" y="2925"/>
                    <a:pt x="5368" y="2925"/>
                  </a:cubicBezTo>
                  <a:cubicBezTo>
                    <a:pt x="5370" y="2915"/>
                    <a:pt x="5370" y="2915"/>
                    <a:pt x="5370" y="2915"/>
                  </a:cubicBezTo>
                  <a:cubicBezTo>
                    <a:pt x="5370" y="2908"/>
                    <a:pt x="5371" y="2901"/>
                    <a:pt x="5371" y="2894"/>
                  </a:cubicBezTo>
                  <a:cubicBezTo>
                    <a:pt x="5371" y="2887"/>
                    <a:pt x="5371" y="2881"/>
                    <a:pt x="5370" y="2874"/>
                  </a:cubicBezTo>
                  <a:cubicBezTo>
                    <a:pt x="5370" y="2870"/>
                    <a:pt x="5370" y="2867"/>
                    <a:pt x="5370" y="2863"/>
                  </a:cubicBezTo>
                  <a:cubicBezTo>
                    <a:pt x="5369" y="2860"/>
                    <a:pt x="5369" y="2856"/>
                    <a:pt x="5369" y="2853"/>
                  </a:cubicBezTo>
                  <a:cubicBezTo>
                    <a:pt x="5368" y="2846"/>
                    <a:pt x="5367" y="2839"/>
                    <a:pt x="5366" y="2832"/>
                  </a:cubicBezTo>
                  <a:cubicBezTo>
                    <a:pt x="5365" y="2825"/>
                    <a:pt x="5364" y="2818"/>
                    <a:pt x="5363" y="2812"/>
                  </a:cubicBezTo>
                  <a:cubicBezTo>
                    <a:pt x="5360" y="2798"/>
                    <a:pt x="5357" y="2784"/>
                    <a:pt x="5354" y="2770"/>
                  </a:cubicBezTo>
                  <a:cubicBezTo>
                    <a:pt x="5348" y="2742"/>
                    <a:pt x="5342" y="2715"/>
                    <a:pt x="5336" y="2686"/>
                  </a:cubicBezTo>
                  <a:cubicBezTo>
                    <a:pt x="5333" y="2672"/>
                    <a:pt x="5331" y="2658"/>
                    <a:pt x="5329" y="2644"/>
                  </a:cubicBezTo>
                  <a:cubicBezTo>
                    <a:pt x="5328" y="2637"/>
                    <a:pt x="5327" y="2629"/>
                    <a:pt x="5326" y="2622"/>
                  </a:cubicBezTo>
                  <a:cubicBezTo>
                    <a:pt x="5325" y="2611"/>
                    <a:pt x="5325" y="2611"/>
                    <a:pt x="5325" y="2611"/>
                  </a:cubicBezTo>
                  <a:cubicBezTo>
                    <a:pt x="5325" y="2601"/>
                    <a:pt x="5325" y="2601"/>
                    <a:pt x="5325" y="2601"/>
                  </a:cubicBezTo>
                  <a:cubicBezTo>
                    <a:pt x="5325" y="2600"/>
                    <a:pt x="5325" y="2600"/>
                    <a:pt x="5325" y="2600"/>
                  </a:cubicBezTo>
                  <a:cubicBezTo>
                    <a:pt x="5325" y="2599"/>
                    <a:pt x="5325" y="2599"/>
                    <a:pt x="5325" y="2599"/>
                  </a:cubicBezTo>
                  <a:cubicBezTo>
                    <a:pt x="5325" y="2597"/>
                    <a:pt x="5325" y="2596"/>
                    <a:pt x="5325" y="2594"/>
                  </a:cubicBezTo>
                  <a:cubicBezTo>
                    <a:pt x="5325" y="2592"/>
                    <a:pt x="5325" y="2591"/>
                    <a:pt x="5325" y="2589"/>
                  </a:cubicBezTo>
                  <a:cubicBezTo>
                    <a:pt x="5325" y="2585"/>
                    <a:pt x="5325" y="2582"/>
                    <a:pt x="5325" y="2578"/>
                  </a:cubicBezTo>
                  <a:cubicBezTo>
                    <a:pt x="5324" y="2570"/>
                    <a:pt x="5324" y="2563"/>
                    <a:pt x="5324" y="2555"/>
                  </a:cubicBezTo>
                  <a:cubicBezTo>
                    <a:pt x="5324" y="2540"/>
                    <a:pt x="5324" y="2524"/>
                    <a:pt x="5328" y="2508"/>
                  </a:cubicBezTo>
                  <a:cubicBezTo>
                    <a:pt x="5328" y="2509"/>
                    <a:pt x="5328" y="2509"/>
                    <a:pt x="5328" y="2509"/>
                  </a:cubicBezTo>
                  <a:cubicBezTo>
                    <a:pt x="5332" y="2473"/>
                    <a:pt x="5332" y="2473"/>
                    <a:pt x="5332" y="2473"/>
                  </a:cubicBezTo>
                  <a:cubicBezTo>
                    <a:pt x="5334" y="2456"/>
                    <a:pt x="5334" y="2456"/>
                    <a:pt x="5334" y="2456"/>
                  </a:cubicBezTo>
                  <a:cubicBezTo>
                    <a:pt x="5335" y="2447"/>
                    <a:pt x="5335" y="2447"/>
                    <a:pt x="5335" y="2447"/>
                  </a:cubicBezTo>
                  <a:cubicBezTo>
                    <a:pt x="5336" y="2438"/>
                    <a:pt x="5336" y="2438"/>
                    <a:pt x="5336" y="2438"/>
                  </a:cubicBezTo>
                  <a:cubicBezTo>
                    <a:pt x="5346" y="2367"/>
                    <a:pt x="5346" y="2367"/>
                    <a:pt x="5346" y="2367"/>
                  </a:cubicBezTo>
                  <a:cubicBezTo>
                    <a:pt x="5365" y="2225"/>
                    <a:pt x="5365" y="2225"/>
                    <a:pt x="5365" y="2225"/>
                  </a:cubicBezTo>
                  <a:cubicBezTo>
                    <a:pt x="5365" y="2228"/>
                    <a:pt x="5365" y="2228"/>
                    <a:pt x="5365" y="2228"/>
                  </a:cubicBezTo>
                  <a:cubicBezTo>
                    <a:pt x="5356" y="2184"/>
                    <a:pt x="5346" y="2139"/>
                    <a:pt x="5333" y="2096"/>
                  </a:cubicBezTo>
                  <a:cubicBezTo>
                    <a:pt x="5320" y="2053"/>
                    <a:pt x="5304" y="2011"/>
                    <a:pt x="5285" y="1970"/>
                  </a:cubicBezTo>
                  <a:cubicBezTo>
                    <a:pt x="5266" y="1929"/>
                    <a:pt x="5244" y="1889"/>
                    <a:pt x="5220" y="1851"/>
                  </a:cubicBezTo>
                  <a:cubicBezTo>
                    <a:pt x="5214" y="1841"/>
                    <a:pt x="5208" y="1832"/>
                    <a:pt x="5202" y="1823"/>
                  </a:cubicBezTo>
                  <a:cubicBezTo>
                    <a:pt x="5195" y="1813"/>
                    <a:pt x="5189" y="1804"/>
                    <a:pt x="5182" y="1795"/>
                  </a:cubicBezTo>
                  <a:cubicBezTo>
                    <a:pt x="5176" y="1785"/>
                    <a:pt x="5169" y="1776"/>
                    <a:pt x="5162" y="1767"/>
                  </a:cubicBezTo>
                  <a:cubicBezTo>
                    <a:pt x="5156" y="1758"/>
                    <a:pt x="5149" y="1749"/>
                    <a:pt x="5142" y="1741"/>
                  </a:cubicBezTo>
                  <a:cubicBezTo>
                    <a:pt x="5113" y="1705"/>
                    <a:pt x="5083" y="1672"/>
                    <a:pt x="5051" y="1639"/>
                  </a:cubicBezTo>
                  <a:cubicBezTo>
                    <a:pt x="5019" y="1607"/>
                    <a:pt x="4986" y="1577"/>
                    <a:pt x="4951" y="1548"/>
                  </a:cubicBezTo>
                  <a:cubicBezTo>
                    <a:pt x="4916" y="1519"/>
                    <a:pt x="4880" y="1492"/>
                    <a:pt x="4843" y="1466"/>
                  </a:cubicBezTo>
                  <a:cubicBezTo>
                    <a:pt x="4805" y="1440"/>
                    <a:pt x="4767" y="1416"/>
                    <a:pt x="4727" y="1394"/>
                  </a:cubicBezTo>
                  <a:cubicBezTo>
                    <a:pt x="4649" y="1349"/>
                    <a:pt x="4566" y="1310"/>
                    <a:pt x="4482" y="1277"/>
                  </a:cubicBezTo>
                  <a:cubicBezTo>
                    <a:pt x="4397" y="1244"/>
                    <a:pt x="4310" y="1217"/>
                    <a:pt x="4222" y="1196"/>
                  </a:cubicBezTo>
                  <a:cubicBezTo>
                    <a:pt x="4134" y="1174"/>
                    <a:pt x="4045" y="1158"/>
                    <a:pt x="3954" y="1148"/>
                  </a:cubicBezTo>
                  <a:cubicBezTo>
                    <a:pt x="3909" y="1143"/>
                    <a:pt x="3864" y="1139"/>
                    <a:pt x="3819" y="1136"/>
                  </a:cubicBezTo>
                  <a:cubicBezTo>
                    <a:pt x="3773" y="1134"/>
                    <a:pt x="3728" y="1133"/>
                    <a:pt x="3683" y="1133"/>
                  </a:cubicBezTo>
                  <a:cubicBezTo>
                    <a:pt x="3409" y="1137"/>
                    <a:pt x="3409" y="1137"/>
                    <a:pt x="3409" y="1137"/>
                  </a:cubicBezTo>
                  <a:cubicBezTo>
                    <a:pt x="3375" y="1138"/>
                    <a:pt x="3375" y="1138"/>
                    <a:pt x="3375" y="1138"/>
                  </a:cubicBezTo>
                  <a:cubicBezTo>
                    <a:pt x="3358" y="1138"/>
                    <a:pt x="3358" y="1138"/>
                    <a:pt x="3358" y="1138"/>
                  </a:cubicBezTo>
                  <a:cubicBezTo>
                    <a:pt x="3354" y="1138"/>
                    <a:pt x="3354" y="1138"/>
                    <a:pt x="3354" y="1138"/>
                  </a:cubicBezTo>
                  <a:cubicBezTo>
                    <a:pt x="3352" y="1138"/>
                    <a:pt x="3352" y="1138"/>
                    <a:pt x="3352" y="1138"/>
                  </a:cubicBezTo>
                  <a:cubicBezTo>
                    <a:pt x="3350" y="1138"/>
                    <a:pt x="3350" y="1138"/>
                    <a:pt x="3350" y="1138"/>
                  </a:cubicBezTo>
                  <a:cubicBezTo>
                    <a:pt x="3341" y="1138"/>
                    <a:pt x="3341" y="1138"/>
                    <a:pt x="3341" y="1138"/>
                  </a:cubicBezTo>
                  <a:cubicBezTo>
                    <a:pt x="3318" y="1138"/>
                    <a:pt x="3296" y="1138"/>
                    <a:pt x="3273" y="1138"/>
                  </a:cubicBezTo>
                  <a:cubicBezTo>
                    <a:pt x="3227" y="1138"/>
                    <a:pt x="3182" y="1139"/>
                    <a:pt x="3136" y="1138"/>
                  </a:cubicBezTo>
                  <a:cubicBezTo>
                    <a:pt x="3090" y="1137"/>
                    <a:pt x="3045" y="1136"/>
                    <a:pt x="2999" y="1132"/>
                  </a:cubicBezTo>
                  <a:cubicBezTo>
                    <a:pt x="2954" y="1129"/>
                    <a:pt x="2908" y="1124"/>
                    <a:pt x="2863" y="1115"/>
                  </a:cubicBezTo>
                  <a:cubicBezTo>
                    <a:pt x="2841" y="1110"/>
                    <a:pt x="2818" y="1105"/>
                    <a:pt x="2796" y="1097"/>
                  </a:cubicBezTo>
                  <a:cubicBezTo>
                    <a:pt x="2774" y="1090"/>
                    <a:pt x="2753" y="1081"/>
                    <a:pt x="2733" y="1070"/>
                  </a:cubicBezTo>
                  <a:cubicBezTo>
                    <a:pt x="2730" y="1068"/>
                    <a:pt x="2728" y="1067"/>
                    <a:pt x="2725" y="1065"/>
                  </a:cubicBezTo>
                  <a:cubicBezTo>
                    <a:pt x="2723" y="1064"/>
                    <a:pt x="2720" y="1062"/>
                    <a:pt x="2718" y="1061"/>
                  </a:cubicBezTo>
                  <a:cubicBezTo>
                    <a:pt x="2711" y="1055"/>
                    <a:pt x="2711" y="1055"/>
                    <a:pt x="2711" y="1055"/>
                  </a:cubicBezTo>
                  <a:cubicBezTo>
                    <a:pt x="2708" y="1054"/>
                    <a:pt x="2706" y="1052"/>
                    <a:pt x="2704" y="1050"/>
                  </a:cubicBezTo>
                  <a:cubicBezTo>
                    <a:pt x="2701" y="1048"/>
                    <a:pt x="2701" y="1048"/>
                    <a:pt x="2701" y="1048"/>
                  </a:cubicBezTo>
                  <a:cubicBezTo>
                    <a:pt x="2697" y="1045"/>
                    <a:pt x="2697" y="1045"/>
                    <a:pt x="2697" y="1045"/>
                  </a:cubicBezTo>
                  <a:cubicBezTo>
                    <a:pt x="2691" y="1039"/>
                    <a:pt x="2691" y="1039"/>
                    <a:pt x="2691" y="1039"/>
                  </a:cubicBezTo>
                  <a:cubicBezTo>
                    <a:pt x="2688" y="1037"/>
                    <a:pt x="2687" y="1034"/>
                    <a:pt x="2685" y="1032"/>
                  </a:cubicBezTo>
                  <a:cubicBezTo>
                    <a:pt x="2683" y="1030"/>
                    <a:pt x="2680" y="1028"/>
                    <a:pt x="2679" y="1025"/>
                  </a:cubicBezTo>
                  <a:cubicBezTo>
                    <a:pt x="2664" y="1007"/>
                    <a:pt x="2653" y="986"/>
                    <a:pt x="2648" y="962"/>
                  </a:cubicBezTo>
                  <a:cubicBezTo>
                    <a:pt x="2643" y="939"/>
                    <a:pt x="2644" y="915"/>
                    <a:pt x="2650" y="892"/>
                  </a:cubicBezTo>
                  <a:cubicBezTo>
                    <a:pt x="2652" y="887"/>
                    <a:pt x="2654" y="881"/>
                    <a:pt x="2657" y="876"/>
                  </a:cubicBezTo>
                  <a:cubicBezTo>
                    <a:pt x="2658" y="873"/>
                    <a:pt x="2659" y="870"/>
                    <a:pt x="2660" y="867"/>
                  </a:cubicBezTo>
                  <a:cubicBezTo>
                    <a:pt x="2665" y="860"/>
                    <a:pt x="2665" y="860"/>
                    <a:pt x="2665" y="860"/>
                  </a:cubicBezTo>
                  <a:cubicBezTo>
                    <a:pt x="2671" y="850"/>
                    <a:pt x="2678" y="841"/>
                    <a:pt x="2687" y="832"/>
                  </a:cubicBezTo>
                  <a:cubicBezTo>
                    <a:pt x="2695" y="824"/>
                    <a:pt x="2704" y="816"/>
                    <a:pt x="2713" y="810"/>
                  </a:cubicBezTo>
                  <a:cubicBezTo>
                    <a:pt x="2723" y="803"/>
                    <a:pt x="2732" y="796"/>
                    <a:pt x="2742" y="791"/>
                  </a:cubicBezTo>
                  <a:cubicBezTo>
                    <a:pt x="2762" y="779"/>
                    <a:pt x="2783" y="770"/>
                    <a:pt x="2804" y="761"/>
                  </a:cubicBezTo>
                  <a:cubicBezTo>
                    <a:pt x="2847" y="743"/>
                    <a:pt x="2890" y="729"/>
                    <a:pt x="2934" y="717"/>
                  </a:cubicBezTo>
                  <a:cubicBezTo>
                    <a:pt x="2978" y="704"/>
                    <a:pt x="3023" y="693"/>
                    <a:pt x="3067" y="683"/>
                  </a:cubicBezTo>
                  <a:cubicBezTo>
                    <a:pt x="3089" y="677"/>
                    <a:pt x="3111" y="672"/>
                    <a:pt x="3133" y="667"/>
                  </a:cubicBezTo>
                  <a:cubicBezTo>
                    <a:pt x="3155" y="661"/>
                    <a:pt x="3177" y="655"/>
                    <a:pt x="3199" y="649"/>
                  </a:cubicBezTo>
                  <a:cubicBezTo>
                    <a:pt x="3242" y="635"/>
                    <a:pt x="3285" y="620"/>
                    <a:pt x="3325" y="600"/>
                  </a:cubicBezTo>
                  <a:cubicBezTo>
                    <a:pt x="3346" y="590"/>
                    <a:pt x="3365" y="578"/>
                    <a:pt x="3383" y="565"/>
                  </a:cubicBezTo>
                  <a:cubicBezTo>
                    <a:pt x="3401" y="552"/>
                    <a:pt x="3418" y="537"/>
                    <a:pt x="3433" y="520"/>
                  </a:cubicBezTo>
                  <a:cubicBezTo>
                    <a:pt x="3440" y="511"/>
                    <a:pt x="3446" y="502"/>
                    <a:pt x="3452" y="492"/>
                  </a:cubicBezTo>
                  <a:cubicBezTo>
                    <a:pt x="3453" y="490"/>
                    <a:pt x="3454" y="487"/>
                    <a:pt x="3456" y="485"/>
                  </a:cubicBezTo>
                  <a:cubicBezTo>
                    <a:pt x="3457" y="482"/>
                    <a:pt x="3458" y="480"/>
                    <a:pt x="3459" y="477"/>
                  </a:cubicBezTo>
                  <a:cubicBezTo>
                    <a:pt x="3463" y="470"/>
                    <a:pt x="3463" y="470"/>
                    <a:pt x="3463" y="470"/>
                  </a:cubicBezTo>
                  <a:cubicBezTo>
                    <a:pt x="3464" y="467"/>
                    <a:pt x="3465" y="464"/>
                    <a:pt x="3466" y="462"/>
                  </a:cubicBezTo>
                  <a:cubicBezTo>
                    <a:pt x="3473" y="441"/>
                    <a:pt x="3478" y="419"/>
                    <a:pt x="3477" y="397"/>
                  </a:cubicBezTo>
                  <a:cubicBezTo>
                    <a:pt x="3477" y="397"/>
                    <a:pt x="3477" y="397"/>
                    <a:pt x="3477" y="397"/>
                  </a:cubicBezTo>
                  <a:cubicBezTo>
                    <a:pt x="3471" y="360"/>
                    <a:pt x="3456" y="325"/>
                    <a:pt x="3433" y="295"/>
                  </a:cubicBezTo>
                  <a:cubicBezTo>
                    <a:pt x="3411" y="265"/>
                    <a:pt x="3381" y="241"/>
                    <a:pt x="3350" y="221"/>
                  </a:cubicBezTo>
                  <a:cubicBezTo>
                    <a:pt x="3318" y="201"/>
                    <a:pt x="3283" y="186"/>
                    <a:pt x="3248" y="173"/>
                  </a:cubicBezTo>
                  <a:cubicBezTo>
                    <a:pt x="3212" y="160"/>
                    <a:pt x="3176" y="149"/>
                    <a:pt x="3139" y="139"/>
                  </a:cubicBezTo>
                  <a:cubicBezTo>
                    <a:pt x="3121" y="134"/>
                    <a:pt x="3103" y="129"/>
                    <a:pt x="3084" y="125"/>
                  </a:cubicBezTo>
                  <a:cubicBezTo>
                    <a:pt x="3029" y="110"/>
                    <a:pt x="3029" y="110"/>
                    <a:pt x="3029" y="110"/>
                  </a:cubicBezTo>
                  <a:cubicBezTo>
                    <a:pt x="3022" y="108"/>
                    <a:pt x="3022" y="108"/>
                    <a:pt x="3022" y="108"/>
                  </a:cubicBezTo>
                  <a:cubicBezTo>
                    <a:pt x="3019" y="108"/>
                    <a:pt x="3019" y="108"/>
                    <a:pt x="3019" y="108"/>
                  </a:cubicBezTo>
                  <a:cubicBezTo>
                    <a:pt x="3018" y="107"/>
                    <a:pt x="3017" y="107"/>
                    <a:pt x="3016" y="107"/>
                  </a:cubicBezTo>
                  <a:cubicBezTo>
                    <a:pt x="3002" y="104"/>
                    <a:pt x="3002" y="104"/>
                    <a:pt x="3002" y="104"/>
                  </a:cubicBezTo>
                  <a:cubicBezTo>
                    <a:pt x="2992" y="102"/>
                    <a:pt x="2983" y="101"/>
                    <a:pt x="2974" y="99"/>
                  </a:cubicBezTo>
                  <a:cubicBezTo>
                    <a:pt x="2955" y="96"/>
                    <a:pt x="2936" y="92"/>
                    <a:pt x="2918" y="89"/>
                  </a:cubicBezTo>
                  <a:cubicBezTo>
                    <a:pt x="2843" y="77"/>
                    <a:pt x="2767" y="68"/>
                    <a:pt x="2692" y="59"/>
                  </a:cubicBezTo>
                  <a:cubicBezTo>
                    <a:pt x="2466" y="32"/>
                    <a:pt x="2466" y="32"/>
                    <a:pt x="2466" y="32"/>
                  </a:cubicBezTo>
                  <a:cubicBezTo>
                    <a:pt x="2391" y="23"/>
                    <a:pt x="2315" y="16"/>
                    <a:pt x="2239" y="11"/>
                  </a:cubicBezTo>
                  <a:cubicBezTo>
                    <a:pt x="2201" y="8"/>
                    <a:pt x="2164" y="6"/>
                    <a:pt x="2126" y="5"/>
                  </a:cubicBezTo>
                  <a:cubicBezTo>
                    <a:pt x="2116" y="5"/>
                    <a:pt x="2107" y="5"/>
                    <a:pt x="2097" y="5"/>
                  </a:cubicBezTo>
                  <a:cubicBezTo>
                    <a:pt x="2069" y="5"/>
                    <a:pt x="2069" y="5"/>
                    <a:pt x="2069" y="5"/>
                  </a:cubicBezTo>
                  <a:cubicBezTo>
                    <a:pt x="2040" y="5"/>
                    <a:pt x="2040" y="5"/>
                    <a:pt x="2040" y="5"/>
                  </a:cubicBezTo>
                  <a:cubicBezTo>
                    <a:pt x="2031" y="5"/>
                    <a:pt x="2021" y="5"/>
                    <a:pt x="2012" y="5"/>
                  </a:cubicBezTo>
                  <a:cubicBezTo>
                    <a:pt x="1974" y="7"/>
                    <a:pt x="1936" y="9"/>
                    <a:pt x="1899" y="14"/>
                  </a:cubicBezTo>
                  <a:cubicBezTo>
                    <a:pt x="1880" y="16"/>
                    <a:pt x="1861" y="19"/>
                    <a:pt x="1842" y="22"/>
                  </a:cubicBezTo>
                  <a:cubicBezTo>
                    <a:pt x="1833" y="23"/>
                    <a:pt x="1823" y="24"/>
                    <a:pt x="1814" y="26"/>
                  </a:cubicBezTo>
                  <a:cubicBezTo>
                    <a:pt x="1786" y="30"/>
                    <a:pt x="1786" y="30"/>
                    <a:pt x="1786" y="30"/>
                  </a:cubicBezTo>
                  <a:cubicBezTo>
                    <a:pt x="1711" y="39"/>
                    <a:pt x="1636" y="53"/>
                    <a:pt x="1562" y="68"/>
                  </a:cubicBezTo>
                  <a:cubicBezTo>
                    <a:pt x="1524" y="75"/>
                    <a:pt x="1487" y="83"/>
                    <a:pt x="1450" y="91"/>
                  </a:cubicBezTo>
                  <a:cubicBezTo>
                    <a:pt x="1413" y="99"/>
                    <a:pt x="1376" y="107"/>
                    <a:pt x="1339" y="115"/>
                  </a:cubicBezTo>
                  <a:cubicBezTo>
                    <a:pt x="1190" y="145"/>
                    <a:pt x="1039" y="167"/>
                    <a:pt x="889" y="187"/>
                  </a:cubicBezTo>
                  <a:cubicBezTo>
                    <a:pt x="814" y="197"/>
                    <a:pt x="739" y="209"/>
                    <a:pt x="664" y="223"/>
                  </a:cubicBezTo>
                  <a:cubicBezTo>
                    <a:pt x="590" y="236"/>
                    <a:pt x="515" y="252"/>
                    <a:pt x="441" y="269"/>
                  </a:cubicBezTo>
                  <a:cubicBezTo>
                    <a:pt x="293" y="303"/>
                    <a:pt x="147" y="342"/>
                    <a:pt x="0" y="38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78"/>
            <p:cNvSpPr>
              <a:spLocks/>
            </p:cNvSpPr>
            <p:nvPr/>
          </p:nvSpPr>
          <p:spPr bwMode="auto">
            <a:xfrm>
              <a:off x="-3422098" y="1358747"/>
              <a:ext cx="8113161" cy="6254872"/>
            </a:xfrm>
            <a:custGeom>
              <a:avLst/>
              <a:gdLst>
                <a:gd name="T0" fmla="*/ 3362 w 4009"/>
                <a:gd name="T1" fmla="*/ 2800 h 3089"/>
                <a:gd name="T2" fmla="*/ 3933 w 4009"/>
                <a:gd name="T3" fmla="*/ 2056 h 3089"/>
                <a:gd name="T4" fmla="*/ 3966 w 4009"/>
                <a:gd name="T5" fmla="*/ 1971 h 3089"/>
                <a:gd name="T6" fmla="*/ 3988 w 4009"/>
                <a:gd name="T7" fmla="*/ 1880 h 3089"/>
                <a:gd name="T8" fmla="*/ 3992 w 4009"/>
                <a:gd name="T9" fmla="*/ 1785 h 3089"/>
                <a:gd name="T10" fmla="*/ 3986 w 4009"/>
                <a:gd name="T11" fmla="*/ 1737 h 3089"/>
                <a:gd name="T12" fmla="*/ 3958 w 4009"/>
                <a:gd name="T13" fmla="*/ 1653 h 3089"/>
                <a:gd name="T14" fmla="*/ 3916 w 4009"/>
                <a:gd name="T15" fmla="*/ 1585 h 3089"/>
                <a:gd name="T16" fmla="*/ 3861 w 4009"/>
                <a:gd name="T17" fmla="*/ 1526 h 3089"/>
                <a:gd name="T18" fmla="*/ 3797 w 4009"/>
                <a:gd name="T19" fmla="*/ 1474 h 3089"/>
                <a:gd name="T20" fmla="*/ 3743 w 4009"/>
                <a:gd name="T21" fmla="*/ 1440 h 3089"/>
                <a:gd name="T22" fmla="*/ 3715 w 4009"/>
                <a:gd name="T23" fmla="*/ 1425 h 3089"/>
                <a:gd name="T24" fmla="*/ 3347 w 4009"/>
                <a:gd name="T25" fmla="*/ 1334 h 3089"/>
                <a:gd name="T26" fmla="*/ 2229 w 4009"/>
                <a:gd name="T27" fmla="*/ 1207 h 3089"/>
                <a:gd name="T28" fmla="*/ 1885 w 4009"/>
                <a:gd name="T29" fmla="*/ 1008 h 3089"/>
                <a:gd name="T30" fmla="*/ 1861 w 4009"/>
                <a:gd name="T31" fmla="*/ 964 h 3089"/>
                <a:gd name="T32" fmla="*/ 1847 w 4009"/>
                <a:gd name="T33" fmla="*/ 830 h 3089"/>
                <a:gd name="T34" fmla="*/ 1874 w 4009"/>
                <a:gd name="T35" fmla="*/ 760 h 3089"/>
                <a:gd name="T36" fmla="*/ 1901 w 4009"/>
                <a:gd name="T37" fmla="*/ 719 h 3089"/>
                <a:gd name="T38" fmla="*/ 1969 w 4009"/>
                <a:gd name="T39" fmla="*/ 647 h 3089"/>
                <a:gd name="T40" fmla="*/ 2113 w 4009"/>
                <a:gd name="T41" fmla="*/ 556 h 3089"/>
                <a:gd name="T42" fmla="*/ 2814 w 4009"/>
                <a:gd name="T43" fmla="*/ 281 h 3089"/>
                <a:gd name="T44" fmla="*/ 2816 w 4009"/>
                <a:gd name="T45" fmla="*/ 204 h 3089"/>
                <a:gd name="T46" fmla="*/ 2710 w 4009"/>
                <a:gd name="T47" fmla="*/ 104 h 3089"/>
                <a:gd name="T48" fmla="*/ 1878 w 4009"/>
                <a:gd name="T49" fmla="*/ 17 h 3089"/>
                <a:gd name="T50" fmla="*/ 452 w 4009"/>
                <a:gd name="T51" fmla="*/ 116 h 3089"/>
                <a:gd name="T52" fmla="*/ 81 w 4009"/>
                <a:gd name="T53" fmla="*/ 269 h 3089"/>
                <a:gd name="T54" fmla="*/ 20 w 4009"/>
                <a:gd name="T55" fmla="*/ 304 h 3089"/>
                <a:gd name="T56" fmla="*/ 362 w 4009"/>
                <a:gd name="T57" fmla="*/ 144 h 3089"/>
                <a:gd name="T58" fmla="*/ 718 w 4009"/>
                <a:gd name="T59" fmla="*/ 54 h 3089"/>
                <a:gd name="T60" fmla="*/ 2400 w 4009"/>
                <a:gd name="T61" fmla="*/ 39 h 3089"/>
                <a:gd name="T62" fmla="*/ 2817 w 4009"/>
                <a:gd name="T63" fmla="*/ 191 h 3089"/>
                <a:gd name="T64" fmla="*/ 2826 w 4009"/>
                <a:gd name="T65" fmla="*/ 213 h 3089"/>
                <a:gd name="T66" fmla="*/ 2763 w 4009"/>
                <a:gd name="T67" fmla="*/ 344 h 3089"/>
                <a:gd name="T68" fmla="*/ 2117 w 4009"/>
                <a:gd name="T69" fmla="*/ 564 h 3089"/>
                <a:gd name="T70" fmla="*/ 1975 w 4009"/>
                <a:gd name="T71" fmla="*/ 655 h 3089"/>
                <a:gd name="T72" fmla="*/ 1908 w 4009"/>
                <a:gd name="T73" fmla="*/ 724 h 3089"/>
                <a:gd name="T74" fmla="*/ 1882 w 4009"/>
                <a:gd name="T75" fmla="*/ 765 h 3089"/>
                <a:gd name="T76" fmla="*/ 1857 w 4009"/>
                <a:gd name="T77" fmla="*/ 832 h 3089"/>
                <a:gd name="T78" fmla="*/ 1871 w 4009"/>
                <a:gd name="T79" fmla="*/ 960 h 3089"/>
                <a:gd name="T80" fmla="*/ 1894 w 4009"/>
                <a:gd name="T81" fmla="*/ 1002 h 3089"/>
                <a:gd name="T82" fmla="*/ 2232 w 4009"/>
                <a:gd name="T83" fmla="*/ 1196 h 3089"/>
                <a:gd name="T84" fmla="*/ 3349 w 4009"/>
                <a:gd name="T85" fmla="*/ 1320 h 3089"/>
                <a:gd name="T86" fmla="*/ 3732 w 4009"/>
                <a:gd name="T87" fmla="*/ 1417 h 3089"/>
                <a:gd name="T88" fmla="*/ 3769 w 4009"/>
                <a:gd name="T89" fmla="*/ 1438 h 3089"/>
                <a:gd name="T90" fmla="*/ 3822 w 4009"/>
                <a:gd name="T91" fmla="*/ 1474 h 3089"/>
                <a:gd name="T92" fmla="*/ 3887 w 4009"/>
                <a:gd name="T93" fmla="*/ 1529 h 3089"/>
                <a:gd name="T94" fmla="*/ 3941 w 4009"/>
                <a:gd name="T95" fmla="*/ 1593 h 3089"/>
                <a:gd name="T96" fmla="*/ 3981 w 4009"/>
                <a:gd name="T97" fmla="*/ 1665 h 3089"/>
                <a:gd name="T98" fmla="*/ 4004 w 4009"/>
                <a:gd name="T99" fmla="*/ 1743 h 3089"/>
                <a:gd name="T100" fmla="*/ 4009 w 4009"/>
                <a:gd name="T101" fmla="*/ 1803 h 3089"/>
                <a:gd name="T102" fmla="*/ 4001 w 4009"/>
                <a:gd name="T103" fmla="*/ 1901 h 3089"/>
                <a:gd name="T104" fmla="*/ 3979 w 4009"/>
                <a:gd name="T105" fmla="*/ 1985 h 3089"/>
                <a:gd name="T106" fmla="*/ 3881 w 4009"/>
                <a:gd name="T107" fmla="*/ 2191 h 3089"/>
                <a:gd name="T108" fmla="*/ 3276 w 4009"/>
                <a:gd name="T109" fmla="*/ 2926 h 3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09" h="3089">
                  <a:moveTo>
                    <a:pt x="3136" y="3079"/>
                  </a:moveTo>
                  <a:cubicBezTo>
                    <a:pt x="3136" y="3079"/>
                    <a:pt x="3140" y="3072"/>
                    <a:pt x="3148" y="3058"/>
                  </a:cubicBezTo>
                  <a:cubicBezTo>
                    <a:pt x="3157" y="3045"/>
                    <a:pt x="3171" y="3026"/>
                    <a:pt x="3190" y="3001"/>
                  </a:cubicBezTo>
                  <a:cubicBezTo>
                    <a:pt x="3208" y="2977"/>
                    <a:pt x="3232" y="2948"/>
                    <a:pt x="3261" y="2914"/>
                  </a:cubicBezTo>
                  <a:cubicBezTo>
                    <a:pt x="3290" y="2880"/>
                    <a:pt x="3324" y="2842"/>
                    <a:pt x="3362" y="2800"/>
                  </a:cubicBezTo>
                  <a:cubicBezTo>
                    <a:pt x="3400" y="2758"/>
                    <a:pt x="3443" y="2711"/>
                    <a:pt x="3489" y="2660"/>
                  </a:cubicBezTo>
                  <a:cubicBezTo>
                    <a:pt x="3535" y="2609"/>
                    <a:pt x="3584" y="2554"/>
                    <a:pt x="3635" y="2493"/>
                  </a:cubicBezTo>
                  <a:cubicBezTo>
                    <a:pt x="3686" y="2433"/>
                    <a:pt x="3739" y="2367"/>
                    <a:pt x="3791" y="2295"/>
                  </a:cubicBezTo>
                  <a:cubicBezTo>
                    <a:pt x="3816" y="2259"/>
                    <a:pt x="3842" y="2221"/>
                    <a:pt x="3866" y="2182"/>
                  </a:cubicBezTo>
                  <a:cubicBezTo>
                    <a:pt x="3890" y="2142"/>
                    <a:pt x="3913" y="2100"/>
                    <a:pt x="3933" y="2056"/>
                  </a:cubicBezTo>
                  <a:cubicBezTo>
                    <a:pt x="3937" y="2045"/>
                    <a:pt x="3942" y="2034"/>
                    <a:pt x="3947" y="2023"/>
                  </a:cubicBezTo>
                  <a:cubicBezTo>
                    <a:pt x="3949" y="2017"/>
                    <a:pt x="3951" y="2011"/>
                    <a:pt x="3954" y="2006"/>
                  </a:cubicBezTo>
                  <a:cubicBezTo>
                    <a:pt x="3956" y="2000"/>
                    <a:pt x="3958" y="1994"/>
                    <a:pt x="3960" y="1988"/>
                  </a:cubicBezTo>
                  <a:cubicBezTo>
                    <a:pt x="3963" y="1979"/>
                    <a:pt x="3963" y="1979"/>
                    <a:pt x="3963" y="1979"/>
                  </a:cubicBezTo>
                  <a:cubicBezTo>
                    <a:pt x="3966" y="1971"/>
                    <a:pt x="3966" y="1971"/>
                    <a:pt x="3966" y="1971"/>
                  </a:cubicBezTo>
                  <a:cubicBezTo>
                    <a:pt x="3968" y="1965"/>
                    <a:pt x="3969" y="1959"/>
                    <a:pt x="3971" y="1953"/>
                  </a:cubicBezTo>
                  <a:cubicBezTo>
                    <a:pt x="3973" y="1947"/>
                    <a:pt x="3974" y="1941"/>
                    <a:pt x="3976" y="1935"/>
                  </a:cubicBezTo>
                  <a:cubicBezTo>
                    <a:pt x="3978" y="1929"/>
                    <a:pt x="3979" y="1923"/>
                    <a:pt x="3981" y="1917"/>
                  </a:cubicBezTo>
                  <a:cubicBezTo>
                    <a:pt x="3982" y="1911"/>
                    <a:pt x="3983" y="1904"/>
                    <a:pt x="3984" y="1898"/>
                  </a:cubicBezTo>
                  <a:cubicBezTo>
                    <a:pt x="3986" y="1892"/>
                    <a:pt x="3987" y="1886"/>
                    <a:pt x="3988" y="1880"/>
                  </a:cubicBezTo>
                  <a:cubicBezTo>
                    <a:pt x="3990" y="1867"/>
                    <a:pt x="3991" y="1855"/>
                    <a:pt x="3992" y="1842"/>
                  </a:cubicBezTo>
                  <a:cubicBezTo>
                    <a:pt x="3992" y="1836"/>
                    <a:pt x="3993" y="1829"/>
                    <a:pt x="3993" y="1823"/>
                  </a:cubicBezTo>
                  <a:cubicBezTo>
                    <a:pt x="3993" y="1813"/>
                    <a:pt x="3993" y="1813"/>
                    <a:pt x="3993" y="1813"/>
                  </a:cubicBezTo>
                  <a:cubicBezTo>
                    <a:pt x="3993" y="1804"/>
                    <a:pt x="3993" y="1804"/>
                    <a:pt x="3993" y="1804"/>
                  </a:cubicBezTo>
                  <a:cubicBezTo>
                    <a:pt x="3993" y="1797"/>
                    <a:pt x="3993" y="1791"/>
                    <a:pt x="3992" y="1785"/>
                  </a:cubicBezTo>
                  <a:cubicBezTo>
                    <a:pt x="3992" y="1778"/>
                    <a:pt x="3991" y="1772"/>
                    <a:pt x="3991" y="1765"/>
                  </a:cubicBezTo>
                  <a:cubicBezTo>
                    <a:pt x="3990" y="1761"/>
                    <a:pt x="3990" y="1761"/>
                    <a:pt x="3990" y="1761"/>
                  </a:cubicBezTo>
                  <a:cubicBezTo>
                    <a:pt x="3989" y="1756"/>
                    <a:pt x="3989" y="1756"/>
                    <a:pt x="3989" y="1756"/>
                  </a:cubicBezTo>
                  <a:cubicBezTo>
                    <a:pt x="3988" y="1746"/>
                    <a:pt x="3988" y="1746"/>
                    <a:pt x="3988" y="1746"/>
                  </a:cubicBezTo>
                  <a:cubicBezTo>
                    <a:pt x="3986" y="1737"/>
                    <a:pt x="3986" y="1737"/>
                    <a:pt x="3986" y="1737"/>
                  </a:cubicBezTo>
                  <a:cubicBezTo>
                    <a:pt x="3986" y="1733"/>
                    <a:pt x="3985" y="1730"/>
                    <a:pt x="3984" y="1727"/>
                  </a:cubicBezTo>
                  <a:cubicBezTo>
                    <a:pt x="3982" y="1721"/>
                    <a:pt x="3981" y="1715"/>
                    <a:pt x="3979" y="1708"/>
                  </a:cubicBezTo>
                  <a:cubicBezTo>
                    <a:pt x="3977" y="1702"/>
                    <a:pt x="3975" y="1696"/>
                    <a:pt x="3973" y="1690"/>
                  </a:cubicBezTo>
                  <a:cubicBezTo>
                    <a:pt x="3971" y="1683"/>
                    <a:pt x="3969" y="1677"/>
                    <a:pt x="3966" y="1671"/>
                  </a:cubicBezTo>
                  <a:cubicBezTo>
                    <a:pt x="3964" y="1665"/>
                    <a:pt x="3961" y="1659"/>
                    <a:pt x="3958" y="1653"/>
                  </a:cubicBezTo>
                  <a:cubicBezTo>
                    <a:pt x="3955" y="1647"/>
                    <a:pt x="3952" y="1641"/>
                    <a:pt x="3949" y="1636"/>
                  </a:cubicBezTo>
                  <a:cubicBezTo>
                    <a:pt x="3946" y="1630"/>
                    <a:pt x="3942" y="1624"/>
                    <a:pt x="3939" y="1618"/>
                  </a:cubicBezTo>
                  <a:cubicBezTo>
                    <a:pt x="3937" y="1616"/>
                    <a:pt x="3936" y="1613"/>
                    <a:pt x="3934" y="1610"/>
                  </a:cubicBezTo>
                  <a:cubicBezTo>
                    <a:pt x="3928" y="1602"/>
                    <a:pt x="3928" y="1602"/>
                    <a:pt x="3928" y="1602"/>
                  </a:cubicBezTo>
                  <a:cubicBezTo>
                    <a:pt x="3924" y="1596"/>
                    <a:pt x="3921" y="1591"/>
                    <a:pt x="3916" y="1585"/>
                  </a:cubicBezTo>
                  <a:cubicBezTo>
                    <a:pt x="3912" y="1580"/>
                    <a:pt x="3908" y="1575"/>
                    <a:pt x="3904" y="1570"/>
                  </a:cubicBezTo>
                  <a:cubicBezTo>
                    <a:pt x="3901" y="1567"/>
                    <a:pt x="3899" y="1564"/>
                    <a:pt x="3897" y="1562"/>
                  </a:cubicBezTo>
                  <a:cubicBezTo>
                    <a:pt x="3890" y="1555"/>
                    <a:pt x="3890" y="1555"/>
                    <a:pt x="3890" y="1555"/>
                  </a:cubicBezTo>
                  <a:cubicBezTo>
                    <a:pt x="3885" y="1550"/>
                    <a:pt x="3881" y="1545"/>
                    <a:pt x="3876" y="1540"/>
                  </a:cubicBezTo>
                  <a:cubicBezTo>
                    <a:pt x="3871" y="1535"/>
                    <a:pt x="3866" y="1530"/>
                    <a:pt x="3861" y="1526"/>
                  </a:cubicBezTo>
                  <a:cubicBezTo>
                    <a:pt x="3854" y="1519"/>
                    <a:pt x="3854" y="1519"/>
                    <a:pt x="3854" y="1519"/>
                  </a:cubicBezTo>
                  <a:cubicBezTo>
                    <a:pt x="3851" y="1516"/>
                    <a:pt x="3848" y="1514"/>
                    <a:pt x="3846" y="1512"/>
                  </a:cubicBezTo>
                  <a:cubicBezTo>
                    <a:pt x="3841" y="1508"/>
                    <a:pt x="3835" y="1503"/>
                    <a:pt x="3830" y="1499"/>
                  </a:cubicBezTo>
                  <a:cubicBezTo>
                    <a:pt x="3825" y="1494"/>
                    <a:pt x="3819" y="1491"/>
                    <a:pt x="3813" y="1486"/>
                  </a:cubicBezTo>
                  <a:cubicBezTo>
                    <a:pt x="3808" y="1482"/>
                    <a:pt x="3802" y="1478"/>
                    <a:pt x="3797" y="1474"/>
                  </a:cubicBezTo>
                  <a:cubicBezTo>
                    <a:pt x="3791" y="1470"/>
                    <a:pt x="3785" y="1466"/>
                    <a:pt x="3779" y="1463"/>
                  </a:cubicBezTo>
                  <a:cubicBezTo>
                    <a:pt x="3770" y="1457"/>
                    <a:pt x="3770" y="1457"/>
                    <a:pt x="3770" y="1457"/>
                  </a:cubicBezTo>
                  <a:cubicBezTo>
                    <a:pt x="3766" y="1454"/>
                    <a:pt x="3766" y="1454"/>
                    <a:pt x="3766" y="1454"/>
                  </a:cubicBezTo>
                  <a:cubicBezTo>
                    <a:pt x="3761" y="1451"/>
                    <a:pt x="3761" y="1451"/>
                    <a:pt x="3761" y="1451"/>
                  </a:cubicBezTo>
                  <a:cubicBezTo>
                    <a:pt x="3755" y="1448"/>
                    <a:pt x="3749" y="1444"/>
                    <a:pt x="3743" y="1440"/>
                  </a:cubicBezTo>
                  <a:cubicBezTo>
                    <a:pt x="3734" y="1435"/>
                    <a:pt x="3734" y="1435"/>
                    <a:pt x="3734" y="1435"/>
                  </a:cubicBezTo>
                  <a:cubicBezTo>
                    <a:pt x="3732" y="1434"/>
                    <a:pt x="3732" y="1434"/>
                    <a:pt x="3732" y="1434"/>
                  </a:cubicBezTo>
                  <a:cubicBezTo>
                    <a:pt x="3730" y="1432"/>
                    <a:pt x="3730" y="1432"/>
                    <a:pt x="3730" y="1432"/>
                  </a:cubicBezTo>
                  <a:cubicBezTo>
                    <a:pt x="3725" y="1430"/>
                    <a:pt x="3725" y="1430"/>
                    <a:pt x="3725" y="1430"/>
                  </a:cubicBezTo>
                  <a:cubicBezTo>
                    <a:pt x="3715" y="1425"/>
                    <a:pt x="3715" y="1425"/>
                    <a:pt x="3715" y="1425"/>
                  </a:cubicBezTo>
                  <a:cubicBezTo>
                    <a:pt x="3706" y="1420"/>
                    <a:pt x="3706" y="1420"/>
                    <a:pt x="3706" y="1420"/>
                  </a:cubicBezTo>
                  <a:cubicBezTo>
                    <a:pt x="3700" y="1417"/>
                    <a:pt x="3693" y="1414"/>
                    <a:pt x="3687" y="1411"/>
                  </a:cubicBezTo>
                  <a:cubicBezTo>
                    <a:pt x="3635" y="1388"/>
                    <a:pt x="3579" y="1372"/>
                    <a:pt x="3522" y="1360"/>
                  </a:cubicBezTo>
                  <a:cubicBezTo>
                    <a:pt x="3494" y="1354"/>
                    <a:pt x="3465" y="1349"/>
                    <a:pt x="3436" y="1345"/>
                  </a:cubicBezTo>
                  <a:cubicBezTo>
                    <a:pt x="3406" y="1340"/>
                    <a:pt x="3377" y="1337"/>
                    <a:pt x="3347" y="1334"/>
                  </a:cubicBezTo>
                  <a:cubicBezTo>
                    <a:pt x="3288" y="1328"/>
                    <a:pt x="3227" y="1323"/>
                    <a:pt x="3167" y="1319"/>
                  </a:cubicBezTo>
                  <a:cubicBezTo>
                    <a:pt x="3045" y="1312"/>
                    <a:pt x="2921" y="1307"/>
                    <a:pt x="2795" y="1298"/>
                  </a:cubicBezTo>
                  <a:cubicBezTo>
                    <a:pt x="2733" y="1293"/>
                    <a:pt x="2670" y="1288"/>
                    <a:pt x="2607" y="1279"/>
                  </a:cubicBezTo>
                  <a:cubicBezTo>
                    <a:pt x="2544" y="1271"/>
                    <a:pt x="2480" y="1262"/>
                    <a:pt x="2417" y="1250"/>
                  </a:cubicBezTo>
                  <a:cubicBezTo>
                    <a:pt x="2354" y="1239"/>
                    <a:pt x="2291" y="1225"/>
                    <a:pt x="2229" y="1207"/>
                  </a:cubicBezTo>
                  <a:cubicBezTo>
                    <a:pt x="2197" y="1198"/>
                    <a:pt x="2167" y="1188"/>
                    <a:pt x="2136" y="1177"/>
                  </a:cubicBezTo>
                  <a:cubicBezTo>
                    <a:pt x="2106" y="1165"/>
                    <a:pt x="2076" y="1153"/>
                    <a:pt x="2046" y="1138"/>
                  </a:cubicBezTo>
                  <a:cubicBezTo>
                    <a:pt x="2017" y="1123"/>
                    <a:pt x="1989" y="1106"/>
                    <a:pt x="1963" y="1087"/>
                  </a:cubicBezTo>
                  <a:cubicBezTo>
                    <a:pt x="1937" y="1067"/>
                    <a:pt x="1912" y="1044"/>
                    <a:pt x="1892" y="1018"/>
                  </a:cubicBezTo>
                  <a:cubicBezTo>
                    <a:pt x="1885" y="1008"/>
                    <a:pt x="1885" y="1008"/>
                    <a:pt x="1885" y="1008"/>
                  </a:cubicBezTo>
                  <a:cubicBezTo>
                    <a:pt x="1883" y="1004"/>
                    <a:pt x="1880" y="1001"/>
                    <a:pt x="1878" y="997"/>
                  </a:cubicBezTo>
                  <a:cubicBezTo>
                    <a:pt x="1872" y="986"/>
                    <a:pt x="1872" y="986"/>
                    <a:pt x="1872" y="986"/>
                  </a:cubicBezTo>
                  <a:cubicBezTo>
                    <a:pt x="1871" y="985"/>
                    <a:pt x="1870" y="983"/>
                    <a:pt x="1869" y="981"/>
                  </a:cubicBezTo>
                  <a:cubicBezTo>
                    <a:pt x="1866" y="975"/>
                    <a:pt x="1866" y="975"/>
                    <a:pt x="1866" y="975"/>
                  </a:cubicBezTo>
                  <a:cubicBezTo>
                    <a:pt x="1861" y="964"/>
                    <a:pt x="1861" y="964"/>
                    <a:pt x="1861" y="964"/>
                  </a:cubicBezTo>
                  <a:cubicBezTo>
                    <a:pt x="1860" y="962"/>
                    <a:pt x="1859" y="960"/>
                    <a:pt x="1859" y="958"/>
                  </a:cubicBezTo>
                  <a:cubicBezTo>
                    <a:pt x="1857" y="952"/>
                    <a:pt x="1857" y="952"/>
                    <a:pt x="1857" y="952"/>
                  </a:cubicBezTo>
                  <a:cubicBezTo>
                    <a:pt x="1852" y="941"/>
                    <a:pt x="1852" y="941"/>
                    <a:pt x="1852" y="941"/>
                  </a:cubicBezTo>
                  <a:cubicBezTo>
                    <a:pt x="1851" y="937"/>
                    <a:pt x="1850" y="933"/>
                    <a:pt x="1849" y="929"/>
                  </a:cubicBezTo>
                  <a:cubicBezTo>
                    <a:pt x="1841" y="897"/>
                    <a:pt x="1840" y="862"/>
                    <a:pt x="1847" y="830"/>
                  </a:cubicBezTo>
                  <a:cubicBezTo>
                    <a:pt x="1848" y="825"/>
                    <a:pt x="1849" y="822"/>
                    <a:pt x="1851" y="818"/>
                  </a:cubicBezTo>
                  <a:cubicBezTo>
                    <a:pt x="1852" y="814"/>
                    <a:pt x="1853" y="810"/>
                    <a:pt x="1854" y="806"/>
                  </a:cubicBezTo>
                  <a:cubicBezTo>
                    <a:pt x="1858" y="794"/>
                    <a:pt x="1858" y="794"/>
                    <a:pt x="1858" y="794"/>
                  </a:cubicBezTo>
                  <a:cubicBezTo>
                    <a:pt x="1860" y="790"/>
                    <a:pt x="1861" y="786"/>
                    <a:pt x="1863" y="783"/>
                  </a:cubicBezTo>
                  <a:cubicBezTo>
                    <a:pt x="1866" y="775"/>
                    <a:pt x="1870" y="768"/>
                    <a:pt x="1874" y="760"/>
                  </a:cubicBezTo>
                  <a:cubicBezTo>
                    <a:pt x="1876" y="757"/>
                    <a:pt x="1878" y="753"/>
                    <a:pt x="1880" y="749"/>
                  </a:cubicBezTo>
                  <a:cubicBezTo>
                    <a:pt x="1883" y="744"/>
                    <a:pt x="1883" y="744"/>
                    <a:pt x="1883" y="744"/>
                  </a:cubicBezTo>
                  <a:cubicBezTo>
                    <a:pt x="1884" y="742"/>
                    <a:pt x="1885" y="741"/>
                    <a:pt x="1886" y="739"/>
                  </a:cubicBezTo>
                  <a:cubicBezTo>
                    <a:pt x="1893" y="729"/>
                    <a:pt x="1893" y="729"/>
                    <a:pt x="1893" y="729"/>
                  </a:cubicBezTo>
                  <a:cubicBezTo>
                    <a:pt x="1901" y="719"/>
                    <a:pt x="1901" y="719"/>
                    <a:pt x="1901" y="719"/>
                  </a:cubicBezTo>
                  <a:cubicBezTo>
                    <a:pt x="1904" y="714"/>
                    <a:pt x="1904" y="714"/>
                    <a:pt x="1904" y="714"/>
                  </a:cubicBezTo>
                  <a:cubicBezTo>
                    <a:pt x="1908" y="709"/>
                    <a:pt x="1908" y="709"/>
                    <a:pt x="1908" y="709"/>
                  </a:cubicBezTo>
                  <a:cubicBezTo>
                    <a:pt x="1916" y="699"/>
                    <a:pt x="1916" y="699"/>
                    <a:pt x="1916" y="699"/>
                  </a:cubicBezTo>
                  <a:cubicBezTo>
                    <a:pt x="1927" y="687"/>
                    <a:pt x="1938" y="675"/>
                    <a:pt x="1950" y="664"/>
                  </a:cubicBezTo>
                  <a:cubicBezTo>
                    <a:pt x="1956" y="658"/>
                    <a:pt x="1962" y="653"/>
                    <a:pt x="1969" y="647"/>
                  </a:cubicBezTo>
                  <a:cubicBezTo>
                    <a:pt x="1975" y="642"/>
                    <a:pt x="1981" y="637"/>
                    <a:pt x="1988" y="632"/>
                  </a:cubicBezTo>
                  <a:cubicBezTo>
                    <a:pt x="2001" y="622"/>
                    <a:pt x="2014" y="613"/>
                    <a:pt x="2028" y="604"/>
                  </a:cubicBezTo>
                  <a:cubicBezTo>
                    <a:pt x="2048" y="591"/>
                    <a:pt x="2048" y="591"/>
                    <a:pt x="2048" y="591"/>
                  </a:cubicBezTo>
                  <a:cubicBezTo>
                    <a:pt x="2070" y="578"/>
                    <a:pt x="2070" y="578"/>
                    <a:pt x="2070" y="578"/>
                  </a:cubicBezTo>
                  <a:cubicBezTo>
                    <a:pt x="2084" y="571"/>
                    <a:pt x="2098" y="563"/>
                    <a:pt x="2113" y="556"/>
                  </a:cubicBezTo>
                  <a:cubicBezTo>
                    <a:pt x="2172" y="527"/>
                    <a:pt x="2233" y="505"/>
                    <a:pt x="2295" y="487"/>
                  </a:cubicBezTo>
                  <a:cubicBezTo>
                    <a:pt x="2357" y="468"/>
                    <a:pt x="2419" y="452"/>
                    <a:pt x="2482" y="438"/>
                  </a:cubicBezTo>
                  <a:cubicBezTo>
                    <a:pt x="2544" y="424"/>
                    <a:pt x="2607" y="411"/>
                    <a:pt x="2666" y="388"/>
                  </a:cubicBezTo>
                  <a:cubicBezTo>
                    <a:pt x="2695" y="377"/>
                    <a:pt x="2723" y="363"/>
                    <a:pt x="2749" y="345"/>
                  </a:cubicBezTo>
                  <a:cubicBezTo>
                    <a:pt x="2775" y="327"/>
                    <a:pt x="2801" y="308"/>
                    <a:pt x="2814" y="281"/>
                  </a:cubicBezTo>
                  <a:cubicBezTo>
                    <a:pt x="2821" y="267"/>
                    <a:pt x="2825" y="252"/>
                    <a:pt x="2824" y="237"/>
                  </a:cubicBezTo>
                  <a:cubicBezTo>
                    <a:pt x="2823" y="230"/>
                    <a:pt x="2822" y="222"/>
                    <a:pt x="2820" y="215"/>
                  </a:cubicBezTo>
                  <a:cubicBezTo>
                    <a:pt x="2819" y="212"/>
                    <a:pt x="2819" y="212"/>
                    <a:pt x="2819" y="212"/>
                  </a:cubicBezTo>
                  <a:cubicBezTo>
                    <a:pt x="2819" y="211"/>
                    <a:pt x="2818" y="211"/>
                    <a:pt x="2818" y="210"/>
                  </a:cubicBezTo>
                  <a:cubicBezTo>
                    <a:pt x="2816" y="204"/>
                    <a:pt x="2816" y="204"/>
                    <a:pt x="2816" y="204"/>
                  </a:cubicBezTo>
                  <a:cubicBezTo>
                    <a:pt x="2813" y="199"/>
                    <a:pt x="2813" y="199"/>
                    <a:pt x="2813" y="199"/>
                  </a:cubicBezTo>
                  <a:cubicBezTo>
                    <a:pt x="2813" y="197"/>
                    <a:pt x="2812" y="196"/>
                    <a:pt x="2811" y="194"/>
                  </a:cubicBezTo>
                  <a:cubicBezTo>
                    <a:pt x="2804" y="180"/>
                    <a:pt x="2795" y="168"/>
                    <a:pt x="2785" y="156"/>
                  </a:cubicBezTo>
                  <a:cubicBezTo>
                    <a:pt x="2774" y="145"/>
                    <a:pt x="2763" y="135"/>
                    <a:pt x="2750" y="127"/>
                  </a:cubicBezTo>
                  <a:cubicBezTo>
                    <a:pt x="2738" y="118"/>
                    <a:pt x="2724" y="110"/>
                    <a:pt x="2710" y="104"/>
                  </a:cubicBezTo>
                  <a:cubicBezTo>
                    <a:pt x="2697" y="97"/>
                    <a:pt x="2682" y="92"/>
                    <a:pt x="2668" y="87"/>
                  </a:cubicBezTo>
                  <a:cubicBezTo>
                    <a:pt x="2639" y="77"/>
                    <a:pt x="2609" y="70"/>
                    <a:pt x="2579" y="65"/>
                  </a:cubicBezTo>
                  <a:cubicBezTo>
                    <a:pt x="2519" y="54"/>
                    <a:pt x="2459" y="50"/>
                    <a:pt x="2399" y="45"/>
                  </a:cubicBezTo>
                  <a:cubicBezTo>
                    <a:pt x="2340" y="40"/>
                    <a:pt x="2280" y="36"/>
                    <a:pt x="2222" y="33"/>
                  </a:cubicBezTo>
                  <a:cubicBezTo>
                    <a:pt x="2104" y="28"/>
                    <a:pt x="1990" y="22"/>
                    <a:pt x="1878" y="17"/>
                  </a:cubicBezTo>
                  <a:cubicBezTo>
                    <a:pt x="1766" y="12"/>
                    <a:pt x="1657" y="8"/>
                    <a:pt x="1552" y="6"/>
                  </a:cubicBezTo>
                  <a:cubicBezTo>
                    <a:pt x="1447" y="3"/>
                    <a:pt x="1345" y="3"/>
                    <a:pt x="1248" y="6"/>
                  </a:cubicBezTo>
                  <a:cubicBezTo>
                    <a:pt x="1053" y="11"/>
                    <a:pt x="874" y="28"/>
                    <a:pt x="718" y="55"/>
                  </a:cubicBezTo>
                  <a:cubicBezTo>
                    <a:pt x="640" y="69"/>
                    <a:pt x="567" y="85"/>
                    <a:pt x="501" y="103"/>
                  </a:cubicBezTo>
                  <a:cubicBezTo>
                    <a:pt x="484" y="107"/>
                    <a:pt x="468" y="112"/>
                    <a:pt x="452" y="116"/>
                  </a:cubicBezTo>
                  <a:cubicBezTo>
                    <a:pt x="445" y="119"/>
                    <a:pt x="437" y="121"/>
                    <a:pt x="429" y="123"/>
                  </a:cubicBezTo>
                  <a:cubicBezTo>
                    <a:pt x="421" y="126"/>
                    <a:pt x="414" y="128"/>
                    <a:pt x="406" y="131"/>
                  </a:cubicBezTo>
                  <a:cubicBezTo>
                    <a:pt x="391" y="135"/>
                    <a:pt x="377" y="140"/>
                    <a:pt x="362" y="145"/>
                  </a:cubicBezTo>
                  <a:cubicBezTo>
                    <a:pt x="348" y="150"/>
                    <a:pt x="335" y="155"/>
                    <a:pt x="321" y="160"/>
                  </a:cubicBezTo>
                  <a:cubicBezTo>
                    <a:pt x="214" y="199"/>
                    <a:pt x="134" y="239"/>
                    <a:pt x="81" y="269"/>
                  </a:cubicBezTo>
                  <a:cubicBezTo>
                    <a:pt x="74" y="272"/>
                    <a:pt x="68" y="276"/>
                    <a:pt x="62" y="279"/>
                  </a:cubicBezTo>
                  <a:cubicBezTo>
                    <a:pt x="56" y="282"/>
                    <a:pt x="51" y="286"/>
                    <a:pt x="46" y="289"/>
                  </a:cubicBezTo>
                  <a:cubicBezTo>
                    <a:pt x="36" y="295"/>
                    <a:pt x="27" y="300"/>
                    <a:pt x="20" y="304"/>
                  </a:cubicBezTo>
                  <a:cubicBezTo>
                    <a:pt x="7" y="312"/>
                    <a:pt x="0" y="316"/>
                    <a:pt x="0" y="316"/>
                  </a:cubicBezTo>
                  <a:cubicBezTo>
                    <a:pt x="0" y="316"/>
                    <a:pt x="7" y="312"/>
                    <a:pt x="20" y="304"/>
                  </a:cubicBezTo>
                  <a:cubicBezTo>
                    <a:pt x="27" y="300"/>
                    <a:pt x="36" y="295"/>
                    <a:pt x="46" y="289"/>
                  </a:cubicBezTo>
                  <a:cubicBezTo>
                    <a:pt x="51" y="286"/>
                    <a:pt x="56" y="282"/>
                    <a:pt x="62" y="279"/>
                  </a:cubicBezTo>
                  <a:cubicBezTo>
                    <a:pt x="68" y="276"/>
                    <a:pt x="74" y="272"/>
                    <a:pt x="81" y="269"/>
                  </a:cubicBezTo>
                  <a:cubicBezTo>
                    <a:pt x="134" y="239"/>
                    <a:pt x="214" y="198"/>
                    <a:pt x="321" y="159"/>
                  </a:cubicBezTo>
                  <a:cubicBezTo>
                    <a:pt x="334" y="154"/>
                    <a:pt x="348" y="149"/>
                    <a:pt x="362" y="144"/>
                  </a:cubicBezTo>
                  <a:cubicBezTo>
                    <a:pt x="376" y="139"/>
                    <a:pt x="391" y="134"/>
                    <a:pt x="406" y="130"/>
                  </a:cubicBezTo>
                  <a:cubicBezTo>
                    <a:pt x="413" y="127"/>
                    <a:pt x="421" y="125"/>
                    <a:pt x="429" y="122"/>
                  </a:cubicBezTo>
                  <a:cubicBezTo>
                    <a:pt x="436" y="120"/>
                    <a:pt x="444" y="118"/>
                    <a:pt x="452" y="115"/>
                  </a:cubicBezTo>
                  <a:cubicBezTo>
                    <a:pt x="468" y="111"/>
                    <a:pt x="484" y="106"/>
                    <a:pt x="501" y="101"/>
                  </a:cubicBezTo>
                  <a:cubicBezTo>
                    <a:pt x="567" y="84"/>
                    <a:pt x="639" y="67"/>
                    <a:pt x="718" y="54"/>
                  </a:cubicBezTo>
                  <a:cubicBezTo>
                    <a:pt x="874" y="25"/>
                    <a:pt x="1053" y="9"/>
                    <a:pt x="1248" y="3"/>
                  </a:cubicBezTo>
                  <a:cubicBezTo>
                    <a:pt x="1345" y="0"/>
                    <a:pt x="1447" y="0"/>
                    <a:pt x="1552" y="2"/>
                  </a:cubicBezTo>
                  <a:cubicBezTo>
                    <a:pt x="1658" y="4"/>
                    <a:pt x="1766" y="8"/>
                    <a:pt x="1878" y="12"/>
                  </a:cubicBezTo>
                  <a:cubicBezTo>
                    <a:pt x="1990" y="18"/>
                    <a:pt x="2105" y="23"/>
                    <a:pt x="2222" y="28"/>
                  </a:cubicBezTo>
                  <a:cubicBezTo>
                    <a:pt x="2281" y="31"/>
                    <a:pt x="2340" y="34"/>
                    <a:pt x="2400" y="39"/>
                  </a:cubicBezTo>
                  <a:cubicBezTo>
                    <a:pt x="2459" y="44"/>
                    <a:pt x="2520" y="48"/>
                    <a:pt x="2580" y="59"/>
                  </a:cubicBezTo>
                  <a:cubicBezTo>
                    <a:pt x="2611" y="64"/>
                    <a:pt x="2641" y="71"/>
                    <a:pt x="2670" y="81"/>
                  </a:cubicBezTo>
                  <a:cubicBezTo>
                    <a:pt x="2685" y="86"/>
                    <a:pt x="2699" y="91"/>
                    <a:pt x="2713" y="98"/>
                  </a:cubicBezTo>
                  <a:cubicBezTo>
                    <a:pt x="2727" y="105"/>
                    <a:pt x="2741" y="112"/>
                    <a:pt x="2754" y="121"/>
                  </a:cubicBezTo>
                  <a:cubicBezTo>
                    <a:pt x="2780" y="139"/>
                    <a:pt x="2803" y="162"/>
                    <a:pt x="2817" y="191"/>
                  </a:cubicBezTo>
                  <a:cubicBezTo>
                    <a:pt x="2818" y="193"/>
                    <a:pt x="2819" y="194"/>
                    <a:pt x="2820" y="196"/>
                  </a:cubicBezTo>
                  <a:cubicBezTo>
                    <a:pt x="2822" y="202"/>
                    <a:pt x="2822" y="202"/>
                    <a:pt x="2822" y="202"/>
                  </a:cubicBezTo>
                  <a:cubicBezTo>
                    <a:pt x="2824" y="207"/>
                    <a:pt x="2824" y="207"/>
                    <a:pt x="2824" y="207"/>
                  </a:cubicBezTo>
                  <a:cubicBezTo>
                    <a:pt x="2825" y="208"/>
                    <a:pt x="2825" y="209"/>
                    <a:pt x="2826" y="210"/>
                  </a:cubicBezTo>
                  <a:cubicBezTo>
                    <a:pt x="2826" y="213"/>
                    <a:pt x="2826" y="213"/>
                    <a:pt x="2826" y="213"/>
                  </a:cubicBezTo>
                  <a:cubicBezTo>
                    <a:pt x="2829" y="220"/>
                    <a:pt x="2830" y="229"/>
                    <a:pt x="2831" y="237"/>
                  </a:cubicBezTo>
                  <a:cubicBezTo>
                    <a:pt x="2832" y="253"/>
                    <a:pt x="2828" y="269"/>
                    <a:pt x="2821" y="284"/>
                  </a:cubicBezTo>
                  <a:cubicBezTo>
                    <a:pt x="2814" y="299"/>
                    <a:pt x="2803" y="311"/>
                    <a:pt x="2791" y="322"/>
                  </a:cubicBezTo>
                  <a:cubicBezTo>
                    <a:pt x="2785" y="327"/>
                    <a:pt x="2779" y="332"/>
                    <a:pt x="2773" y="337"/>
                  </a:cubicBezTo>
                  <a:cubicBezTo>
                    <a:pt x="2770" y="340"/>
                    <a:pt x="2767" y="342"/>
                    <a:pt x="2763" y="344"/>
                  </a:cubicBezTo>
                  <a:cubicBezTo>
                    <a:pt x="2754" y="351"/>
                    <a:pt x="2754" y="351"/>
                    <a:pt x="2754" y="351"/>
                  </a:cubicBezTo>
                  <a:cubicBezTo>
                    <a:pt x="2727" y="369"/>
                    <a:pt x="2698" y="384"/>
                    <a:pt x="2669" y="395"/>
                  </a:cubicBezTo>
                  <a:cubicBezTo>
                    <a:pt x="2609" y="419"/>
                    <a:pt x="2546" y="432"/>
                    <a:pt x="2484" y="446"/>
                  </a:cubicBezTo>
                  <a:cubicBezTo>
                    <a:pt x="2421" y="460"/>
                    <a:pt x="2359" y="476"/>
                    <a:pt x="2297" y="495"/>
                  </a:cubicBezTo>
                  <a:cubicBezTo>
                    <a:pt x="2236" y="514"/>
                    <a:pt x="2175" y="536"/>
                    <a:pt x="2117" y="564"/>
                  </a:cubicBezTo>
                  <a:cubicBezTo>
                    <a:pt x="2103" y="571"/>
                    <a:pt x="2088" y="579"/>
                    <a:pt x="2074" y="586"/>
                  </a:cubicBezTo>
                  <a:cubicBezTo>
                    <a:pt x="2053" y="599"/>
                    <a:pt x="2053" y="599"/>
                    <a:pt x="2053" y="599"/>
                  </a:cubicBezTo>
                  <a:cubicBezTo>
                    <a:pt x="2033" y="612"/>
                    <a:pt x="2033" y="612"/>
                    <a:pt x="2033" y="612"/>
                  </a:cubicBezTo>
                  <a:cubicBezTo>
                    <a:pt x="2020" y="620"/>
                    <a:pt x="2006" y="630"/>
                    <a:pt x="1993" y="640"/>
                  </a:cubicBezTo>
                  <a:cubicBezTo>
                    <a:pt x="1987" y="644"/>
                    <a:pt x="1981" y="650"/>
                    <a:pt x="1975" y="655"/>
                  </a:cubicBezTo>
                  <a:cubicBezTo>
                    <a:pt x="1969" y="660"/>
                    <a:pt x="1962" y="665"/>
                    <a:pt x="1957" y="671"/>
                  </a:cubicBezTo>
                  <a:cubicBezTo>
                    <a:pt x="1945" y="682"/>
                    <a:pt x="1934" y="693"/>
                    <a:pt x="1923" y="706"/>
                  </a:cubicBezTo>
                  <a:cubicBezTo>
                    <a:pt x="1916" y="715"/>
                    <a:pt x="1916" y="715"/>
                    <a:pt x="1916" y="715"/>
                  </a:cubicBezTo>
                  <a:cubicBezTo>
                    <a:pt x="1912" y="720"/>
                    <a:pt x="1912" y="720"/>
                    <a:pt x="1912" y="720"/>
                  </a:cubicBezTo>
                  <a:cubicBezTo>
                    <a:pt x="1908" y="724"/>
                    <a:pt x="1908" y="724"/>
                    <a:pt x="1908" y="724"/>
                  </a:cubicBezTo>
                  <a:cubicBezTo>
                    <a:pt x="1901" y="734"/>
                    <a:pt x="1901" y="734"/>
                    <a:pt x="1901" y="734"/>
                  </a:cubicBezTo>
                  <a:cubicBezTo>
                    <a:pt x="1895" y="744"/>
                    <a:pt x="1895" y="744"/>
                    <a:pt x="1895" y="744"/>
                  </a:cubicBezTo>
                  <a:cubicBezTo>
                    <a:pt x="1894" y="746"/>
                    <a:pt x="1892" y="748"/>
                    <a:pt x="1891" y="749"/>
                  </a:cubicBezTo>
                  <a:cubicBezTo>
                    <a:pt x="1888" y="754"/>
                    <a:pt x="1888" y="754"/>
                    <a:pt x="1888" y="754"/>
                  </a:cubicBezTo>
                  <a:cubicBezTo>
                    <a:pt x="1886" y="758"/>
                    <a:pt x="1884" y="761"/>
                    <a:pt x="1882" y="765"/>
                  </a:cubicBezTo>
                  <a:cubicBezTo>
                    <a:pt x="1879" y="772"/>
                    <a:pt x="1875" y="779"/>
                    <a:pt x="1872" y="787"/>
                  </a:cubicBezTo>
                  <a:cubicBezTo>
                    <a:pt x="1871" y="790"/>
                    <a:pt x="1869" y="794"/>
                    <a:pt x="1868" y="798"/>
                  </a:cubicBezTo>
                  <a:cubicBezTo>
                    <a:pt x="1864" y="809"/>
                    <a:pt x="1864" y="809"/>
                    <a:pt x="1864" y="809"/>
                  </a:cubicBezTo>
                  <a:cubicBezTo>
                    <a:pt x="1862" y="812"/>
                    <a:pt x="1861" y="816"/>
                    <a:pt x="1860" y="820"/>
                  </a:cubicBezTo>
                  <a:cubicBezTo>
                    <a:pt x="1859" y="824"/>
                    <a:pt x="1858" y="828"/>
                    <a:pt x="1857" y="832"/>
                  </a:cubicBezTo>
                  <a:cubicBezTo>
                    <a:pt x="1850" y="863"/>
                    <a:pt x="1851" y="895"/>
                    <a:pt x="1859" y="926"/>
                  </a:cubicBezTo>
                  <a:cubicBezTo>
                    <a:pt x="1860" y="930"/>
                    <a:pt x="1861" y="934"/>
                    <a:pt x="1862" y="938"/>
                  </a:cubicBezTo>
                  <a:cubicBezTo>
                    <a:pt x="1866" y="949"/>
                    <a:pt x="1866" y="949"/>
                    <a:pt x="1866" y="949"/>
                  </a:cubicBezTo>
                  <a:cubicBezTo>
                    <a:pt x="1868" y="954"/>
                    <a:pt x="1868" y="954"/>
                    <a:pt x="1868" y="954"/>
                  </a:cubicBezTo>
                  <a:cubicBezTo>
                    <a:pt x="1869" y="956"/>
                    <a:pt x="1870" y="958"/>
                    <a:pt x="1871" y="960"/>
                  </a:cubicBezTo>
                  <a:cubicBezTo>
                    <a:pt x="1876" y="971"/>
                    <a:pt x="1876" y="971"/>
                    <a:pt x="1876" y="971"/>
                  </a:cubicBezTo>
                  <a:cubicBezTo>
                    <a:pt x="1878" y="976"/>
                    <a:pt x="1878" y="976"/>
                    <a:pt x="1878" y="976"/>
                  </a:cubicBezTo>
                  <a:cubicBezTo>
                    <a:pt x="1879" y="978"/>
                    <a:pt x="1880" y="980"/>
                    <a:pt x="1881" y="981"/>
                  </a:cubicBezTo>
                  <a:cubicBezTo>
                    <a:pt x="1887" y="992"/>
                    <a:pt x="1887" y="992"/>
                    <a:pt x="1887" y="992"/>
                  </a:cubicBezTo>
                  <a:cubicBezTo>
                    <a:pt x="1889" y="995"/>
                    <a:pt x="1891" y="998"/>
                    <a:pt x="1894" y="1002"/>
                  </a:cubicBezTo>
                  <a:cubicBezTo>
                    <a:pt x="1901" y="1011"/>
                    <a:pt x="1901" y="1011"/>
                    <a:pt x="1901" y="1011"/>
                  </a:cubicBezTo>
                  <a:cubicBezTo>
                    <a:pt x="1920" y="1037"/>
                    <a:pt x="1944" y="1059"/>
                    <a:pt x="1969" y="1078"/>
                  </a:cubicBezTo>
                  <a:cubicBezTo>
                    <a:pt x="1995" y="1097"/>
                    <a:pt x="2023" y="1114"/>
                    <a:pt x="2051" y="1128"/>
                  </a:cubicBezTo>
                  <a:cubicBezTo>
                    <a:pt x="2080" y="1143"/>
                    <a:pt x="2110" y="1155"/>
                    <a:pt x="2140" y="1166"/>
                  </a:cubicBezTo>
                  <a:cubicBezTo>
                    <a:pt x="2170" y="1178"/>
                    <a:pt x="2201" y="1187"/>
                    <a:pt x="2232" y="1196"/>
                  </a:cubicBezTo>
                  <a:cubicBezTo>
                    <a:pt x="2294" y="1214"/>
                    <a:pt x="2356" y="1227"/>
                    <a:pt x="2419" y="1239"/>
                  </a:cubicBezTo>
                  <a:cubicBezTo>
                    <a:pt x="2482" y="1250"/>
                    <a:pt x="2545" y="1259"/>
                    <a:pt x="2608" y="1267"/>
                  </a:cubicBezTo>
                  <a:cubicBezTo>
                    <a:pt x="2671" y="1275"/>
                    <a:pt x="2734" y="1281"/>
                    <a:pt x="2796" y="1285"/>
                  </a:cubicBezTo>
                  <a:cubicBezTo>
                    <a:pt x="2921" y="1294"/>
                    <a:pt x="3045" y="1298"/>
                    <a:pt x="3167" y="1306"/>
                  </a:cubicBezTo>
                  <a:cubicBezTo>
                    <a:pt x="3228" y="1309"/>
                    <a:pt x="3289" y="1314"/>
                    <a:pt x="3349" y="1320"/>
                  </a:cubicBezTo>
                  <a:cubicBezTo>
                    <a:pt x="3408" y="1326"/>
                    <a:pt x="3468" y="1334"/>
                    <a:pt x="3525" y="1346"/>
                  </a:cubicBezTo>
                  <a:cubicBezTo>
                    <a:pt x="3583" y="1358"/>
                    <a:pt x="3640" y="1374"/>
                    <a:pt x="3693" y="1398"/>
                  </a:cubicBezTo>
                  <a:cubicBezTo>
                    <a:pt x="3700" y="1401"/>
                    <a:pt x="3706" y="1403"/>
                    <a:pt x="3713" y="1407"/>
                  </a:cubicBezTo>
                  <a:cubicBezTo>
                    <a:pt x="3723" y="1412"/>
                    <a:pt x="3723" y="1412"/>
                    <a:pt x="3723" y="1412"/>
                  </a:cubicBezTo>
                  <a:cubicBezTo>
                    <a:pt x="3732" y="1417"/>
                    <a:pt x="3732" y="1417"/>
                    <a:pt x="3732" y="1417"/>
                  </a:cubicBezTo>
                  <a:cubicBezTo>
                    <a:pt x="3737" y="1419"/>
                    <a:pt x="3737" y="1419"/>
                    <a:pt x="3737" y="1419"/>
                  </a:cubicBezTo>
                  <a:cubicBezTo>
                    <a:pt x="3739" y="1421"/>
                    <a:pt x="3739" y="1421"/>
                    <a:pt x="3739" y="1421"/>
                  </a:cubicBezTo>
                  <a:cubicBezTo>
                    <a:pt x="3742" y="1422"/>
                    <a:pt x="3742" y="1422"/>
                    <a:pt x="3742" y="1422"/>
                  </a:cubicBezTo>
                  <a:cubicBezTo>
                    <a:pt x="3751" y="1427"/>
                    <a:pt x="3751" y="1427"/>
                    <a:pt x="3751" y="1427"/>
                  </a:cubicBezTo>
                  <a:cubicBezTo>
                    <a:pt x="3757" y="1431"/>
                    <a:pt x="3763" y="1435"/>
                    <a:pt x="3769" y="1438"/>
                  </a:cubicBezTo>
                  <a:cubicBezTo>
                    <a:pt x="3774" y="1441"/>
                    <a:pt x="3774" y="1441"/>
                    <a:pt x="3774" y="1441"/>
                  </a:cubicBezTo>
                  <a:cubicBezTo>
                    <a:pt x="3778" y="1444"/>
                    <a:pt x="3778" y="1444"/>
                    <a:pt x="3778" y="1444"/>
                  </a:cubicBezTo>
                  <a:cubicBezTo>
                    <a:pt x="3787" y="1450"/>
                    <a:pt x="3787" y="1450"/>
                    <a:pt x="3787" y="1450"/>
                  </a:cubicBezTo>
                  <a:cubicBezTo>
                    <a:pt x="3793" y="1454"/>
                    <a:pt x="3799" y="1458"/>
                    <a:pt x="3805" y="1462"/>
                  </a:cubicBezTo>
                  <a:cubicBezTo>
                    <a:pt x="3811" y="1466"/>
                    <a:pt x="3817" y="1470"/>
                    <a:pt x="3822" y="1474"/>
                  </a:cubicBezTo>
                  <a:cubicBezTo>
                    <a:pt x="3828" y="1478"/>
                    <a:pt x="3834" y="1482"/>
                    <a:pt x="3839" y="1487"/>
                  </a:cubicBezTo>
                  <a:cubicBezTo>
                    <a:pt x="3845" y="1491"/>
                    <a:pt x="3850" y="1496"/>
                    <a:pt x="3856" y="1500"/>
                  </a:cubicBezTo>
                  <a:cubicBezTo>
                    <a:pt x="3859" y="1503"/>
                    <a:pt x="3861" y="1505"/>
                    <a:pt x="3864" y="1507"/>
                  </a:cubicBezTo>
                  <a:cubicBezTo>
                    <a:pt x="3872" y="1514"/>
                    <a:pt x="3872" y="1514"/>
                    <a:pt x="3872" y="1514"/>
                  </a:cubicBezTo>
                  <a:cubicBezTo>
                    <a:pt x="3877" y="1519"/>
                    <a:pt x="3882" y="1524"/>
                    <a:pt x="3887" y="1529"/>
                  </a:cubicBezTo>
                  <a:cubicBezTo>
                    <a:pt x="3892" y="1534"/>
                    <a:pt x="3897" y="1539"/>
                    <a:pt x="3902" y="1544"/>
                  </a:cubicBezTo>
                  <a:cubicBezTo>
                    <a:pt x="3909" y="1552"/>
                    <a:pt x="3909" y="1552"/>
                    <a:pt x="3909" y="1552"/>
                  </a:cubicBezTo>
                  <a:cubicBezTo>
                    <a:pt x="3911" y="1554"/>
                    <a:pt x="3913" y="1557"/>
                    <a:pt x="3916" y="1560"/>
                  </a:cubicBezTo>
                  <a:cubicBezTo>
                    <a:pt x="3920" y="1565"/>
                    <a:pt x="3924" y="1570"/>
                    <a:pt x="3929" y="1576"/>
                  </a:cubicBezTo>
                  <a:cubicBezTo>
                    <a:pt x="3933" y="1581"/>
                    <a:pt x="3937" y="1587"/>
                    <a:pt x="3941" y="1593"/>
                  </a:cubicBezTo>
                  <a:cubicBezTo>
                    <a:pt x="3947" y="1601"/>
                    <a:pt x="3947" y="1601"/>
                    <a:pt x="3947" y="1601"/>
                  </a:cubicBezTo>
                  <a:cubicBezTo>
                    <a:pt x="3949" y="1604"/>
                    <a:pt x="3951" y="1607"/>
                    <a:pt x="3952" y="1610"/>
                  </a:cubicBezTo>
                  <a:cubicBezTo>
                    <a:pt x="3956" y="1616"/>
                    <a:pt x="3960" y="1622"/>
                    <a:pt x="3963" y="1628"/>
                  </a:cubicBezTo>
                  <a:cubicBezTo>
                    <a:pt x="3966" y="1634"/>
                    <a:pt x="3969" y="1640"/>
                    <a:pt x="3973" y="1646"/>
                  </a:cubicBezTo>
                  <a:cubicBezTo>
                    <a:pt x="3976" y="1652"/>
                    <a:pt x="3978" y="1659"/>
                    <a:pt x="3981" y="1665"/>
                  </a:cubicBezTo>
                  <a:cubicBezTo>
                    <a:pt x="3983" y="1672"/>
                    <a:pt x="3986" y="1678"/>
                    <a:pt x="3988" y="1684"/>
                  </a:cubicBezTo>
                  <a:cubicBezTo>
                    <a:pt x="3990" y="1691"/>
                    <a:pt x="3993" y="1697"/>
                    <a:pt x="3995" y="1704"/>
                  </a:cubicBezTo>
                  <a:cubicBezTo>
                    <a:pt x="3996" y="1710"/>
                    <a:pt x="3998" y="1717"/>
                    <a:pt x="4000" y="1724"/>
                  </a:cubicBezTo>
                  <a:cubicBezTo>
                    <a:pt x="4000" y="1727"/>
                    <a:pt x="4001" y="1730"/>
                    <a:pt x="4002" y="1734"/>
                  </a:cubicBezTo>
                  <a:cubicBezTo>
                    <a:pt x="4004" y="1743"/>
                    <a:pt x="4004" y="1743"/>
                    <a:pt x="4004" y="1743"/>
                  </a:cubicBezTo>
                  <a:cubicBezTo>
                    <a:pt x="4005" y="1753"/>
                    <a:pt x="4005" y="1753"/>
                    <a:pt x="4005" y="1753"/>
                  </a:cubicBezTo>
                  <a:cubicBezTo>
                    <a:pt x="4006" y="1758"/>
                    <a:pt x="4006" y="1758"/>
                    <a:pt x="4006" y="1758"/>
                  </a:cubicBezTo>
                  <a:cubicBezTo>
                    <a:pt x="4007" y="1763"/>
                    <a:pt x="4007" y="1763"/>
                    <a:pt x="4007" y="1763"/>
                  </a:cubicBezTo>
                  <a:cubicBezTo>
                    <a:pt x="4007" y="1770"/>
                    <a:pt x="4008" y="1777"/>
                    <a:pt x="4008" y="1783"/>
                  </a:cubicBezTo>
                  <a:cubicBezTo>
                    <a:pt x="4009" y="1790"/>
                    <a:pt x="4009" y="1797"/>
                    <a:pt x="4009" y="1803"/>
                  </a:cubicBezTo>
                  <a:cubicBezTo>
                    <a:pt x="4009" y="1813"/>
                    <a:pt x="4009" y="1813"/>
                    <a:pt x="4009" y="1813"/>
                  </a:cubicBezTo>
                  <a:cubicBezTo>
                    <a:pt x="4009" y="1823"/>
                    <a:pt x="4009" y="1823"/>
                    <a:pt x="4009" y="1823"/>
                  </a:cubicBezTo>
                  <a:cubicBezTo>
                    <a:pt x="4009" y="1830"/>
                    <a:pt x="4009" y="1837"/>
                    <a:pt x="4008" y="1843"/>
                  </a:cubicBezTo>
                  <a:cubicBezTo>
                    <a:pt x="4007" y="1856"/>
                    <a:pt x="4006" y="1869"/>
                    <a:pt x="4004" y="1882"/>
                  </a:cubicBezTo>
                  <a:cubicBezTo>
                    <a:pt x="4003" y="1889"/>
                    <a:pt x="4002" y="1895"/>
                    <a:pt x="4001" y="1901"/>
                  </a:cubicBezTo>
                  <a:cubicBezTo>
                    <a:pt x="3999" y="1908"/>
                    <a:pt x="3998" y="1914"/>
                    <a:pt x="3997" y="1920"/>
                  </a:cubicBezTo>
                  <a:cubicBezTo>
                    <a:pt x="3996" y="1927"/>
                    <a:pt x="3994" y="1933"/>
                    <a:pt x="3992" y="1939"/>
                  </a:cubicBezTo>
                  <a:cubicBezTo>
                    <a:pt x="3990" y="1945"/>
                    <a:pt x="3989" y="1951"/>
                    <a:pt x="3987" y="1958"/>
                  </a:cubicBezTo>
                  <a:cubicBezTo>
                    <a:pt x="3985" y="1964"/>
                    <a:pt x="3983" y="1970"/>
                    <a:pt x="3982" y="1976"/>
                  </a:cubicBezTo>
                  <a:cubicBezTo>
                    <a:pt x="3979" y="1985"/>
                    <a:pt x="3979" y="1985"/>
                    <a:pt x="3979" y="1985"/>
                  </a:cubicBezTo>
                  <a:cubicBezTo>
                    <a:pt x="3976" y="1994"/>
                    <a:pt x="3976" y="1994"/>
                    <a:pt x="3976" y="1994"/>
                  </a:cubicBezTo>
                  <a:cubicBezTo>
                    <a:pt x="3973" y="2000"/>
                    <a:pt x="3971" y="2006"/>
                    <a:pt x="3969" y="2011"/>
                  </a:cubicBezTo>
                  <a:cubicBezTo>
                    <a:pt x="3967" y="2017"/>
                    <a:pt x="3965" y="2023"/>
                    <a:pt x="3962" y="2029"/>
                  </a:cubicBezTo>
                  <a:cubicBezTo>
                    <a:pt x="3958" y="2040"/>
                    <a:pt x="3953" y="2052"/>
                    <a:pt x="3948" y="2063"/>
                  </a:cubicBezTo>
                  <a:cubicBezTo>
                    <a:pt x="3928" y="2108"/>
                    <a:pt x="3905" y="2150"/>
                    <a:pt x="3881" y="2191"/>
                  </a:cubicBezTo>
                  <a:cubicBezTo>
                    <a:pt x="3856" y="2231"/>
                    <a:pt x="3831" y="2269"/>
                    <a:pt x="3805" y="2305"/>
                  </a:cubicBezTo>
                  <a:cubicBezTo>
                    <a:pt x="3753" y="2378"/>
                    <a:pt x="3700" y="2444"/>
                    <a:pt x="3649" y="2505"/>
                  </a:cubicBezTo>
                  <a:cubicBezTo>
                    <a:pt x="3598" y="2566"/>
                    <a:pt x="3548" y="2621"/>
                    <a:pt x="3503" y="2673"/>
                  </a:cubicBezTo>
                  <a:cubicBezTo>
                    <a:pt x="3457" y="2724"/>
                    <a:pt x="3414" y="2770"/>
                    <a:pt x="3376" y="2813"/>
                  </a:cubicBezTo>
                  <a:cubicBezTo>
                    <a:pt x="3338" y="2855"/>
                    <a:pt x="3304" y="2893"/>
                    <a:pt x="3276" y="2926"/>
                  </a:cubicBezTo>
                  <a:cubicBezTo>
                    <a:pt x="3247" y="2960"/>
                    <a:pt x="3224" y="2989"/>
                    <a:pt x="3205" y="3013"/>
                  </a:cubicBezTo>
                  <a:cubicBezTo>
                    <a:pt x="3187" y="3037"/>
                    <a:pt x="3174" y="3056"/>
                    <a:pt x="3165" y="3069"/>
                  </a:cubicBezTo>
                  <a:cubicBezTo>
                    <a:pt x="3157" y="3083"/>
                    <a:pt x="3152" y="3089"/>
                    <a:pt x="3152" y="3089"/>
                  </a:cubicBezTo>
                  <a:lnTo>
                    <a:pt x="3136" y="307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p:cNvGrpSpPr/>
          <p:nvPr/>
        </p:nvGrpSpPr>
        <p:grpSpPr>
          <a:xfrm>
            <a:off x="2226959" y="4566684"/>
            <a:ext cx="1157370" cy="2241799"/>
            <a:chOff x="6940174" y="3246442"/>
            <a:chExt cx="1175340" cy="2223712"/>
          </a:xfrm>
        </p:grpSpPr>
        <p:grpSp>
          <p:nvGrpSpPr>
            <p:cNvPr id="82" name="Group 81"/>
            <p:cNvGrpSpPr/>
            <p:nvPr/>
          </p:nvGrpSpPr>
          <p:grpSpPr>
            <a:xfrm>
              <a:off x="6940174" y="3246442"/>
              <a:ext cx="1175340" cy="2192500"/>
              <a:chOff x="5455241" y="1480656"/>
              <a:chExt cx="1517619" cy="2830995"/>
            </a:xfrm>
          </p:grpSpPr>
          <p:grpSp>
            <p:nvGrpSpPr>
              <p:cNvPr id="84" name="Group 83"/>
              <p:cNvGrpSpPr/>
              <p:nvPr/>
            </p:nvGrpSpPr>
            <p:grpSpPr>
              <a:xfrm>
                <a:off x="6083422" y="2925441"/>
                <a:ext cx="246291" cy="1386210"/>
                <a:chOff x="2641600" y="3431522"/>
                <a:chExt cx="246291" cy="2446764"/>
              </a:xfrm>
            </p:grpSpPr>
            <p:sp>
              <p:nvSpPr>
                <p:cNvPr id="87" name="Rectangle 86"/>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5" name="Flowchart: Connector 84"/>
              <p:cNvSpPr/>
              <p:nvPr/>
            </p:nvSpPr>
            <p:spPr>
              <a:xfrm>
                <a:off x="5455241" y="1480656"/>
                <a:ext cx="1517619" cy="1517619"/>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Flowchart: Connector 85"/>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Oval 82"/>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Graphic 6" descr="Building Brick Wall with solid fill">
            <a:extLst>
              <a:ext uri="{FF2B5EF4-FFF2-40B4-BE49-F238E27FC236}">
                <a16:creationId xmlns:a16="http://schemas.microsoft.com/office/drawing/2014/main" id="{4BC1CC32-1AFF-5142-B207-7C6F9016A96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12234" y="4867177"/>
            <a:ext cx="586821" cy="586821"/>
          </a:xfrm>
          <a:prstGeom prst="rect">
            <a:avLst/>
          </a:prstGeom>
        </p:spPr>
      </p:pic>
      <p:pic>
        <p:nvPicPr>
          <p:cNvPr id="116" name="Picture 115" descr="A picture containing text, road, sky, outdoor&#10;&#10;Description automatically generated">
            <a:extLst>
              <a:ext uri="{FF2B5EF4-FFF2-40B4-BE49-F238E27FC236}">
                <a16:creationId xmlns:a16="http://schemas.microsoft.com/office/drawing/2014/main" id="{81F61052-0FDE-DC4F-9A1F-06F1F6701604}"/>
              </a:ext>
            </a:extLst>
          </p:cNvPr>
          <p:cNvPicPr>
            <a:picLocks noChangeAspect="1"/>
          </p:cNvPicPr>
          <p:nvPr/>
        </p:nvPicPr>
        <p:blipFill rotWithShape="1">
          <a:blip r:embed="rId5"/>
          <a:srcRect t="54405"/>
          <a:stretch/>
        </p:blipFill>
        <p:spPr>
          <a:xfrm>
            <a:off x="20" y="10"/>
            <a:ext cx="12191980" cy="1850760"/>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24" name="Straight Connector 123">
            <a:extLst>
              <a:ext uri="{FF2B5EF4-FFF2-40B4-BE49-F238E27FC236}">
                <a16:creationId xmlns:a16="http://schemas.microsoft.com/office/drawing/2014/main" id="{8BC881F4-D908-FA4F-8416-45CFF68AA272}"/>
              </a:ext>
            </a:extLst>
          </p:cNvPr>
          <p:cNvCxnSpPr>
            <a:cxnSpLocks/>
          </p:cNvCxnSpPr>
          <p:nvPr/>
        </p:nvCxnSpPr>
        <p:spPr>
          <a:xfrm>
            <a:off x="7853648" y="2900038"/>
            <a:ext cx="0" cy="289364"/>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275F65D-B990-AD40-A100-4E1435D2A39B}"/>
              </a:ext>
            </a:extLst>
          </p:cNvPr>
          <p:cNvSpPr txBox="1"/>
          <p:nvPr/>
        </p:nvSpPr>
        <p:spPr>
          <a:xfrm>
            <a:off x="7925905" y="2718715"/>
            <a:ext cx="818813" cy="400110"/>
          </a:xfrm>
          <a:prstGeom prst="rect">
            <a:avLst/>
          </a:prstGeom>
          <a:noFill/>
        </p:spPr>
        <p:txBody>
          <a:bodyPr wrap="square" rtlCol="0">
            <a:spAutoFit/>
          </a:bodyPr>
          <a:lstStyle/>
          <a:p>
            <a:r>
              <a:rPr lang="en-US" sz="2000" b="1" dirty="0">
                <a:solidFill>
                  <a:srgbClr val="FF0000"/>
                </a:solidFill>
              </a:rPr>
              <a:t>2017</a:t>
            </a:r>
            <a:endParaRPr lang="en-GB" sz="2000" b="1" dirty="0">
              <a:solidFill>
                <a:srgbClr val="FF0000"/>
              </a:solidFill>
            </a:endParaRPr>
          </a:p>
        </p:txBody>
      </p:sp>
      <p:sp>
        <p:nvSpPr>
          <p:cNvPr id="137" name="TextBox 136">
            <a:extLst>
              <a:ext uri="{FF2B5EF4-FFF2-40B4-BE49-F238E27FC236}">
                <a16:creationId xmlns:a16="http://schemas.microsoft.com/office/drawing/2014/main" id="{8F35F08A-A70B-944A-ADBB-B433D17302D9}"/>
              </a:ext>
            </a:extLst>
          </p:cNvPr>
          <p:cNvSpPr txBox="1"/>
          <p:nvPr/>
        </p:nvSpPr>
        <p:spPr>
          <a:xfrm>
            <a:off x="7924720" y="2993267"/>
            <a:ext cx="3709745" cy="307777"/>
          </a:xfrm>
          <a:prstGeom prst="rect">
            <a:avLst/>
          </a:prstGeom>
          <a:noFill/>
        </p:spPr>
        <p:txBody>
          <a:bodyPr wrap="square" rtlCol="0">
            <a:spAutoFit/>
          </a:bodyPr>
          <a:lstStyle/>
          <a:p>
            <a:r>
              <a:rPr lang="en-US" sz="1400" dirty="0"/>
              <a:t>Build Foundation</a:t>
            </a:r>
          </a:p>
        </p:txBody>
      </p:sp>
      <p:cxnSp>
        <p:nvCxnSpPr>
          <p:cNvPr id="141" name="Straight Connector 140">
            <a:extLst>
              <a:ext uri="{FF2B5EF4-FFF2-40B4-BE49-F238E27FC236}">
                <a16:creationId xmlns:a16="http://schemas.microsoft.com/office/drawing/2014/main" id="{46F8F088-629C-E249-A968-99B7F9860AF1}"/>
              </a:ext>
            </a:extLst>
          </p:cNvPr>
          <p:cNvCxnSpPr>
            <a:cxnSpLocks/>
          </p:cNvCxnSpPr>
          <p:nvPr/>
        </p:nvCxnSpPr>
        <p:spPr>
          <a:xfrm>
            <a:off x="7853648" y="3601741"/>
            <a:ext cx="0" cy="289364"/>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9851C71-6F21-2D41-B48D-D0CC21DFCA54}"/>
              </a:ext>
            </a:extLst>
          </p:cNvPr>
          <p:cNvSpPr txBox="1"/>
          <p:nvPr/>
        </p:nvSpPr>
        <p:spPr>
          <a:xfrm>
            <a:off x="7925905" y="3420418"/>
            <a:ext cx="818813" cy="400110"/>
          </a:xfrm>
          <a:prstGeom prst="rect">
            <a:avLst/>
          </a:prstGeom>
          <a:noFill/>
        </p:spPr>
        <p:txBody>
          <a:bodyPr wrap="square" rtlCol="0">
            <a:spAutoFit/>
          </a:bodyPr>
          <a:lstStyle/>
          <a:p>
            <a:r>
              <a:rPr lang="en-US" sz="2000" b="1" dirty="0">
                <a:solidFill>
                  <a:schemeClr val="accent2"/>
                </a:solidFill>
              </a:rPr>
              <a:t>2018</a:t>
            </a:r>
            <a:endParaRPr lang="en-GB" sz="2000" b="1" dirty="0">
              <a:solidFill>
                <a:schemeClr val="accent2"/>
              </a:solidFill>
            </a:endParaRPr>
          </a:p>
        </p:txBody>
      </p:sp>
      <p:sp>
        <p:nvSpPr>
          <p:cNvPr id="148" name="TextBox 147">
            <a:extLst>
              <a:ext uri="{FF2B5EF4-FFF2-40B4-BE49-F238E27FC236}">
                <a16:creationId xmlns:a16="http://schemas.microsoft.com/office/drawing/2014/main" id="{F51F1BBA-EC59-6940-9673-035630F2C26B}"/>
              </a:ext>
            </a:extLst>
          </p:cNvPr>
          <p:cNvSpPr txBox="1"/>
          <p:nvPr/>
        </p:nvSpPr>
        <p:spPr>
          <a:xfrm>
            <a:off x="7924720" y="3694970"/>
            <a:ext cx="3709745" cy="307777"/>
          </a:xfrm>
          <a:prstGeom prst="rect">
            <a:avLst/>
          </a:prstGeom>
          <a:noFill/>
        </p:spPr>
        <p:txBody>
          <a:bodyPr wrap="square" rtlCol="0">
            <a:spAutoFit/>
          </a:bodyPr>
          <a:lstStyle/>
          <a:p>
            <a:r>
              <a:rPr lang="en-US" sz="1400" dirty="0"/>
              <a:t>Automation journey through trial and error</a:t>
            </a:r>
          </a:p>
        </p:txBody>
      </p:sp>
      <p:pic>
        <p:nvPicPr>
          <p:cNvPr id="154" name="Picture 153" descr="A picture containing background pattern&#10;&#10;Description automatically generated">
            <a:extLst>
              <a:ext uri="{FF2B5EF4-FFF2-40B4-BE49-F238E27FC236}">
                <a16:creationId xmlns:a16="http://schemas.microsoft.com/office/drawing/2014/main" id="{E4AFE243-E623-A64C-A41A-289AD9060622}"/>
              </a:ext>
            </a:extLst>
          </p:cNvPr>
          <p:cNvPicPr>
            <a:picLocks noChangeAspect="1"/>
          </p:cNvPicPr>
          <p:nvPr/>
        </p:nvPicPr>
        <p:blipFill>
          <a:blip r:embed="rId6"/>
          <a:stretch>
            <a:fillRect/>
          </a:stretch>
        </p:blipFill>
        <p:spPr>
          <a:xfrm>
            <a:off x="6449097" y="2343545"/>
            <a:ext cx="1332295" cy="4194431"/>
          </a:xfrm>
          <a:prstGeom prst="rect">
            <a:avLst/>
          </a:prstGeom>
        </p:spPr>
      </p:pic>
    </p:spTree>
    <p:extLst>
      <p:ext uri="{BB962C8B-B14F-4D97-AF65-F5344CB8AC3E}">
        <p14:creationId xmlns:p14="http://schemas.microsoft.com/office/powerpoint/2010/main" val="8938693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F61B9CC-6AD5-9D48-BB59-CC04B6E989E3}"/>
              </a:ext>
            </a:extLst>
          </p:cNvPr>
          <p:cNvPicPr>
            <a:picLocks noChangeAspect="1"/>
          </p:cNvPicPr>
          <p:nvPr/>
        </p:nvPicPr>
        <p:blipFill>
          <a:blip r:embed="rId3"/>
          <a:stretch>
            <a:fillRect/>
          </a:stretch>
        </p:blipFill>
        <p:spPr>
          <a:xfrm>
            <a:off x="6439005" y="2364504"/>
            <a:ext cx="1342387" cy="4131065"/>
          </a:xfrm>
          <a:prstGeom prst="rect">
            <a:avLst/>
          </a:prstGeom>
        </p:spPr>
      </p:pic>
      <p:grpSp>
        <p:nvGrpSpPr>
          <p:cNvPr id="10" name="Group 9"/>
          <p:cNvGrpSpPr/>
          <p:nvPr/>
        </p:nvGrpSpPr>
        <p:grpSpPr>
          <a:xfrm>
            <a:off x="5543550" y="3038514"/>
            <a:ext cx="816271" cy="1610440"/>
            <a:chOff x="5732595" y="1773497"/>
            <a:chExt cx="1137880" cy="2152837"/>
          </a:xfrm>
        </p:grpSpPr>
        <p:grpSp>
          <p:nvGrpSpPr>
            <p:cNvPr id="90" name="Group 89"/>
            <p:cNvGrpSpPr/>
            <p:nvPr/>
          </p:nvGrpSpPr>
          <p:grpSpPr>
            <a:xfrm>
              <a:off x="5732595" y="1773497"/>
              <a:ext cx="1137880" cy="2152837"/>
              <a:chOff x="6940174" y="3246442"/>
              <a:chExt cx="1175340" cy="2223712"/>
            </a:xfrm>
          </p:grpSpPr>
          <p:grpSp>
            <p:nvGrpSpPr>
              <p:cNvPr id="91" name="Group 90"/>
              <p:cNvGrpSpPr/>
              <p:nvPr/>
            </p:nvGrpSpPr>
            <p:grpSpPr>
              <a:xfrm>
                <a:off x="6940174" y="3246442"/>
                <a:ext cx="1175340" cy="2192500"/>
                <a:chOff x="5455241" y="1480656"/>
                <a:chExt cx="1517619" cy="2830995"/>
              </a:xfrm>
            </p:grpSpPr>
            <p:grpSp>
              <p:nvGrpSpPr>
                <p:cNvPr id="93" name="Group 92"/>
                <p:cNvGrpSpPr/>
                <p:nvPr/>
              </p:nvGrpSpPr>
              <p:grpSpPr>
                <a:xfrm>
                  <a:off x="6083422" y="2925441"/>
                  <a:ext cx="246291" cy="1386210"/>
                  <a:chOff x="2641600" y="3431522"/>
                  <a:chExt cx="246291" cy="2446764"/>
                </a:xfrm>
              </p:grpSpPr>
              <p:sp>
                <p:nvSpPr>
                  <p:cNvPr id="96" name="Rectangle 95"/>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4" name="Flowchart: Connector 93"/>
                <p:cNvSpPr/>
                <p:nvPr/>
              </p:nvSpPr>
              <p:spPr>
                <a:xfrm>
                  <a:off x="5455241" y="1480656"/>
                  <a:ext cx="1517619" cy="1517619"/>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lowchart: Connector 94"/>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Oval 91"/>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8" name="Freeform 30"/>
            <p:cNvSpPr>
              <a:spLocks noChangeArrowheads="1"/>
            </p:cNvSpPr>
            <p:nvPr/>
          </p:nvSpPr>
          <p:spPr bwMode="auto">
            <a:xfrm>
              <a:off x="6078746" y="2124447"/>
              <a:ext cx="445580" cy="423301"/>
            </a:xfrm>
            <a:custGeom>
              <a:avLst/>
              <a:gdLst>
                <a:gd name="T0" fmla="*/ 59356 w 498"/>
                <a:gd name="T1" fmla="*/ 210688 h 470"/>
                <a:gd name="T2" fmla="*/ 59356 w 498"/>
                <a:gd name="T3" fmla="*/ 210688 h 470"/>
                <a:gd name="T4" fmla="*/ 83009 w 498"/>
                <a:gd name="T5" fmla="*/ 210688 h 470"/>
                <a:gd name="T6" fmla="*/ 130762 w 498"/>
                <a:gd name="T7" fmla="*/ 119045 h 470"/>
                <a:gd name="T8" fmla="*/ 190117 w 498"/>
                <a:gd name="T9" fmla="*/ 119045 h 470"/>
                <a:gd name="T10" fmla="*/ 221804 w 498"/>
                <a:gd name="T11" fmla="*/ 103322 h 470"/>
                <a:gd name="T12" fmla="*/ 190117 w 498"/>
                <a:gd name="T13" fmla="*/ 87599 h 470"/>
                <a:gd name="T14" fmla="*/ 130762 w 498"/>
                <a:gd name="T15" fmla="*/ 87599 h 470"/>
                <a:gd name="T16" fmla="*/ 83009 w 498"/>
                <a:gd name="T17" fmla="*/ 0 h 470"/>
                <a:gd name="T18" fmla="*/ 59356 w 498"/>
                <a:gd name="T19" fmla="*/ 0 h 470"/>
                <a:gd name="T20" fmla="*/ 87026 w 498"/>
                <a:gd name="T21" fmla="*/ 87599 h 470"/>
                <a:gd name="T22" fmla="*/ 47753 w 498"/>
                <a:gd name="T23" fmla="*/ 87599 h 470"/>
                <a:gd name="T24" fmla="*/ 23653 w 498"/>
                <a:gd name="T25" fmla="*/ 67384 h 470"/>
                <a:gd name="T26" fmla="*/ 0 w 498"/>
                <a:gd name="T27" fmla="*/ 67384 h 470"/>
                <a:gd name="T28" fmla="*/ 16066 w 498"/>
                <a:gd name="T29" fmla="*/ 103322 h 470"/>
                <a:gd name="T30" fmla="*/ 0 w 498"/>
                <a:gd name="T31" fmla="*/ 143304 h 470"/>
                <a:gd name="T32" fmla="*/ 23653 w 498"/>
                <a:gd name="T33" fmla="*/ 143304 h 470"/>
                <a:gd name="T34" fmla="*/ 47753 w 498"/>
                <a:gd name="T35" fmla="*/ 119045 h 470"/>
                <a:gd name="T36" fmla="*/ 87026 w 498"/>
                <a:gd name="T37" fmla="*/ 119045 h 470"/>
                <a:gd name="T38" fmla="*/ 59356 w 498"/>
                <a:gd name="T39" fmla="*/ 210688 h 4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98" h="470">
                  <a:moveTo>
                    <a:pt x="133" y="469"/>
                  </a:moveTo>
                  <a:lnTo>
                    <a:pt x="133" y="469"/>
                  </a:lnTo>
                  <a:cubicBezTo>
                    <a:pt x="186" y="469"/>
                    <a:pt x="186" y="469"/>
                    <a:pt x="186" y="469"/>
                  </a:cubicBezTo>
                  <a:cubicBezTo>
                    <a:pt x="293" y="265"/>
                    <a:pt x="293" y="265"/>
                    <a:pt x="293" y="265"/>
                  </a:cubicBezTo>
                  <a:cubicBezTo>
                    <a:pt x="426" y="265"/>
                    <a:pt x="426" y="265"/>
                    <a:pt x="426" y="265"/>
                  </a:cubicBezTo>
                  <a:cubicBezTo>
                    <a:pt x="426" y="265"/>
                    <a:pt x="497" y="265"/>
                    <a:pt x="497" y="230"/>
                  </a:cubicBezTo>
                  <a:cubicBezTo>
                    <a:pt x="497" y="195"/>
                    <a:pt x="426" y="195"/>
                    <a:pt x="426" y="195"/>
                  </a:cubicBezTo>
                  <a:cubicBezTo>
                    <a:pt x="293" y="195"/>
                    <a:pt x="293" y="195"/>
                    <a:pt x="293" y="195"/>
                  </a:cubicBezTo>
                  <a:cubicBezTo>
                    <a:pt x="186" y="0"/>
                    <a:pt x="186" y="0"/>
                    <a:pt x="186" y="0"/>
                  </a:cubicBezTo>
                  <a:cubicBezTo>
                    <a:pt x="133" y="0"/>
                    <a:pt x="133" y="0"/>
                    <a:pt x="133" y="0"/>
                  </a:cubicBezTo>
                  <a:cubicBezTo>
                    <a:pt x="195" y="195"/>
                    <a:pt x="195" y="195"/>
                    <a:pt x="195" y="195"/>
                  </a:cubicBezTo>
                  <a:cubicBezTo>
                    <a:pt x="107" y="195"/>
                    <a:pt x="107" y="195"/>
                    <a:pt x="107" y="195"/>
                  </a:cubicBezTo>
                  <a:cubicBezTo>
                    <a:pt x="53" y="150"/>
                    <a:pt x="53" y="150"/>
                    <a:pt x="53" y="150"/>
                  </a:cubicBezTo>
                  <a:cubicBezTo>
                    <a:pt x="0" y="150"/>
                    <a:pt x="0" y="150"/>
                    <a:pt x="0" y="150"/>
                  </a:cubicBezTo>
                  <a:cubicBezTo>
                    <a:pt x="36" y="230"/>
                    <a:pt x="36" y="230"/>
                    <a:pt x="36" y="230"/>
                  </a:cubicBezTo>
                  <a:cubicBezTo>
                    <a:pt x="0" y="319"/>
                    <a:pt x="0" y="319"/>
                    <a:pt x="0" y="319"/>
                  </a:cubicBezTo>
                  <a:cubicBezTo>
                    <a:pt x="53" y="319"/>
                    <a:pt x="53" y="319"/>
                    <a:pt x="53" y="319"/>
                  </a:cubicBezTo>
                  <a:cubicBezTo>
                    <a:pt x="107" y="265"/>
                    <a:pt x="107" y="265"/>
                    <a:pt x="107" y="265"/>
                  </a:cubicBezTo>
                  <a:cubicBezTo>
                    <a:pt x="195" y="265"/>
                    <a:pt x="195" y="265"/>
                    <a:pt x="195" y="265"/>
                  </a:cubicBezTo>
                  <a:lnTo>
                    <a:pt x="133" y="469"/>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grpSp>
      <p:grpSp>
        <p:nvGrpSpPr>
          <p:cNvPr id="9" name="Group 8"/>
          <p:cNvGrpSpPr/>
          <p:nvPr/>
        </p:nvGrpSpPr>
        <p:grpSpPr>
          <a:xfrm>
            <a:off x="-3003711" y="2139869"/>
            <a:ext cx="9381737" cy="5023175"/>
            <a:chOff x="-3859698" y="1008495"/>
            <a:chExt cx="11034207" cy="6676202"/>
          </a:xfrm>
        </p:grpSpPr>
        <p:grpSp>
          <p:nvGrpSpPr>
            <p:cNvPr id="29" name="Group 28"/>
            <p:cNvGrpSpPr/>
            <p:nvPr/>
          </p:nvGrpSpPr>
          <p:grpSpPr>
            <a:xfrm>
              <a:off x="-322072" y="1008495"/>
              <a:ext cx="7496581" cy="6676202"/>
              <a:chOff x="-322072" y="1008495"/>
              <a:chExt cx="7496581" cy="6676202"/>
            </a:xfrm>
          </p:grpSpPr>
          <p:sp>
            <p:nvSpPr>
              <p:cNvPr id="30" name="Freeform 169"/>
              <p:cNvSpPr>
                <a:spLocks/>
              </p:cNvSpPr>
              <p:nvPr/>
            </p:nvSpPr>
            <p:spPr bwMode="auto">
              <a:xfrm>
                <a:off x="-285249" y="1127529"/>
                <a:ext cx="7401525" cy="6557168"/>
              </a:xfrm>
              <a:custGeom>
                <a:avLst/>
                <a:gdLst>
                  <a:gd name="T0" fmla="*/ 3643 w 3657"/>
                  <a:gd name="T1" fmla="*/ 2265 h 3238"/>
                  <a:gd name="T2" fmla="*/ 3625 w 3657"/>
                  <a:gd name="T3" fmla="*/ 2395 h 3238"/>
                  <a:gd name="T4" fmla="*/ 3619 w 3657"/>
                  <a:gd name="T5" fmla="*/ 2445 h 3238"/>
                  <a:gd name="T6" fmla="*/ 3653 w 3657"/>
                  <a:gd name="T7" fmla="*/ 2937 h 3238"/>
                  <a:gd name="T8" fmla="*/ 3644 w 3657"/>
                  <a:gd name="T9" fmla="*/ 3018 h 3238"/>
                  <a:gd name="T10" fmla="*/ 3583 w 3657"/>
                  <a:gd name="T11" fmla="*/ 3005 h 3238"/>
                  <a:gd name="T12" fmla="*/ 3514 w 3657"/>
                  <a:gd name="T13" fmla="*/ 2981 h 3238"/>
                  <a:gd name="T14" fmla="*/ 3361 w 3657"/>
                  <a:gd name="T15" fmla="*/ 3013 h 3238"/>
                  <a:gd name="T16" fmla="*/ 3118 w 3657"/>
                  <a:gd name="T17" fmla="*/ 3109 h 3238"/>
                  <a:gd name="T18" fmla="*/ 3066 w 3657"/>
                  <a:gd name="T19" fmla="*/ 3095 h 3238"/>
                  <a:gd name="T20" fmla="*/ 3023 w 3657"/>
                  <a:gd name="T21" fmla="*/ 3068 h 3238"/>
                  <a:gd name="T22" fmla="*/ 2804 w 3657"/>
                  <a:gd name="T23" fmla="*/ 3054 h 3238"/>
                  <a:gd name="T24" fmla="*/ 2732 w 3657"/>
                  <a:gd name="T25" fmla="*/ 3085 h 3238"/>
                  <a:gd name="T26" fmla="*/ 2197 w 3657"/>
                  <a:gd name="T27" fmla="*/ 2960 h 3238"/>
                  <a:gd name="T28" fmla="*/ 1900 w 3657"/>
                  <a:gd name="T29" fmla="*/ 2963 h 3238"/>
                  <a:gd name="T30" fmla="*/ 1829 w 3657"/>
                  <a:gd name="T31" fmla="*/ 2968 h 3238"/>
                  <a:gd name="T32" fmla="*/ 1696 w 3657"/>
                  <a:gd name="T33" fmla="*/ 2901 h 3238"/>
                  <a:gd name="T34" fmla="*/ 2030 w 3657"/>
                  <a:gd name="T35" fmla="*/ 2641 h 3238"/>
                  <a:gd name="T36" fmla="*/ 2094 w 3657"/>
                  <a:gd name="T37" fmla="*/ 2587 h 3238"/>
                  <a:gd name="T38" fmla="*/ 2154 w 3657"/>
                  <a:gd name="T39" fmla="*/ 2530 h 3238"/>
                  <a:gd name="T40" fmla="*/ 2292 w 3657"/>
                  <a:gd name="T41" fmla="*/ 2330 h 3238"/>
                  <a:gd name="T42" fmla="*/ 2324 w 3657"/>
                  <a:gd name="T43" fmla="*/ 2249 h 3238"/>
                  <a:gd name="T44" fmla="*/ 2349 w 3657"/>
                  <a:gd name="T45" fmla="*/ 1866 h 3238"/>
                  <a:gd name="T46" fmla="*/ 1824 w 3657"/>
                  <a:gd name="T47" fmla="*/ 1548 h 3238"/>
                  <a:gd name="T48" fmla="*/ 1060 w 3657"/>
                  <a:gd name="T49" fmla="*/ 1492 h 3238"/>
                  <a:gd name="T50" fmla="*/ 263 w 3657"/>
                  <a:gd name="T51" fmla="*/ 1128 h 3238"/>
                  <a:gd name="T52" fmla="*/ 258 w 3657"/>
                  <a:gd name="T53" fmla="*/ 997 h 3238"/>
                  <a:gd name="T54" fmla="*/ 317 w 3657"/>
                  <a:gd name="T55" fmla="*/ 881 h 3238"/>
                  <a:gd name="T56" fmla="*/ 738 w 3657"/>
                  <a:gd name="T57" fmla="*/ 631 h 3238"/>
                  <a:gd name="T58" fmla="*/ 915 w 3657"/>
                  <a:gd name="T59" fmla="*/ 576 h 3238"/>
                  <a:gd name="T60" fmla="*/ 1225 w 3657"/>
                  <a:gd name="T61" fmla="*/ 404 h 3238"/>
                  <a:gd name="T62" fmla="*/ 1170 w 3657"/>
                  <a:gd name="T63" fmla="*/ 345 h 3238"/>
                  <a:gd name="T64" fmla="*/ 772 w 3657"/>
                  <a:gd name="T65" fmla="*/ 259 h 3238"/>
                  <a:gd name="T66" fmla="*/ 335 w 3657"/>
                  <a:gd name="T67" fmla="*/ 238 h 3238"/>
                  <a:gd name="T68" fmla="*/ 78 w 3657"/>
                  <a:gd name="T69" fmla="*/ 227 h 3238"/>
                  <a:gd name="T70" fmla="*/ 49 w 3657"/>
                  <a:gd name="T71" fmla="*/ 127 h 3238"/>
                  <a:gd name="T72" fmla="*/ 25 w 3657"/>
                  <a:gd name="T73" fmla="*/ 67 h 3238"/>
                  <a:gd name="T74" fmla="*/ 7 w 3657"/>
                  <a:gd name="T75" fmla="*/ 15 h 3238"/>
                  <a:gd name="T76" fmla="*/ 92 w 3657"/>
                  <a:gd name="T77" fmla="*/ 2 h 3238"/>
                  <a:gd name="T78" fmla="*/ 114 w 3657"/>
                  <a:gd name="T79" fmla="*/ 3 h 3238"/>
                  <a:gd name="T80" fmla="*/ 361 w 3657"/>
                  <a:gd name="T81" fmla="*/ 10 h 3238"/>
                  <a:gd name="T82" fmla="*/ 851 w 3657"/>
                  <a:gd name="T83" fmla="*/ 65 h 3238"/>
                  <a:gd name="T84" fmla="*/ 865 w 3657"/>
                  <a:gd name="T85" fmla="*/ 67 h 3238"/>
                  <a:gd name="T86" fmla="*/ 1055 w 3657"/>
                  <a:gd name="T87" fmla="*/ 95 h 3238"/>
                  <a:gd name="T88" fmla="*/ 1450 w 3657"/>
                  <a:gd name="T89" fmla="*/ 183 h 3238"/>
                  <a:gd name="T90" fmla="*/ 1733 w 3657"/>
                  <a:gd name="T91" fmla="*/ 524 h 3238"/>
                  <a:gd name="T92" fmla="*/ 1362 w 3657"/>
                  <a:gd name="T93" fmla="*/ 752 h 3238"/>
                  <a:gd name="T94" fmla="*/ 933 w 3657"/>
                  <a:gd name="T95" fmla="*/ 921 h 3238"/>
                  <a:gd name="T96" fmla="*/ 958 w 3657"/>
                  <a:gd name="T97" fmla="*/ 1052 h 3238"/>
                  <a:gd name="T98" fmla="*/ 1477 w 3657"/>
                  <a:gd name="T99" fmla="*/ 1131 h 3238"/>
                  <a:gd name="T100" fmla="*/ 1552 w 3657"/>
                  <a:gd name="T101" fmla="*/ 1131 h 3238"/>
                  <a:gd name="T102" fmla="*/ 1751 w 3657"/>
                  <a:gd name="T103" fmla="*/ 1129 h 3238"/>
                  <a:gd name="T104" fmla="*/ 2044 w 3657"/>
                  <a:gd name="T105" fmla="*/ 1128 h 3238"/>
                  <a:gd name="T106" fmla="*/ 3624 w 3657"/>
                  <a:gd name="T107" fmla="*/ 2178 h 3238"/>
                  <a:gd name="T108" fmla="*/ 3643 w 3657"/>
                  <a:gd name="T109" fmla="*/ 2265 h 3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57" h="3238">
                    <a:moveTo>
                      <a:pt x="3643" y="2265"/>
                    </a:moveTo>
                    <a:cubicBezTo>
                      <a:pt x="3643" y="2265"/>
                      <a:pt x="3635" y="2320"/>
                      <a:pt x="3625" y="2395"/>
                    </a:cubicBezTo>
                    <a:cubicBezTo>
                      <a:pt x="3623" y="2411"/>
                      <a:pt x="3621" y="2427"/>
                      <a:pt x="3619" y="2445"/>
                    </a:cubicBezTo>
                    <a:cubicBezTo>
                      <a:pt x="3587" y="2607"/>
                      <a:pt x="3643" y="2769"/>
                      <a:pt x="3653" y="2937"/>
                    </a:cubicBezTo>
                    <a:cubicBezTo>
                      <a:pt x="3655" y="2967"/>
                      <a:pt x="3657" y="3000"/>
                      <a:pt x="3644" y="3018"/>
                    </a:cubicBezTo>
                    <a:cubicBezTo>
                      <a:pt x="3635" y="3032"/>
                      <a:pt x="3603" y="3014"/>
                      <a:pt x="3583" y="3005"/>
                    </a:cubicBezTo>
                    <a:cubicBezTo>
                      <a:pt x="3560" y="2996"/>
                      <a:pt x="3537" y="2987"/>
                      <a:pt x="3514" y="2981"/>
                    </a:cubicBezTo>
                    <a:cubicBezTo>
                      <a:pt x="3458" y="2967"/>
                      <a:pt x="3408" y="2988"/>
                      <a:pt x="3361" y="3013"/>
                    </a:cubicBezTo>
                    <a:cubicBezTo>
                      <a:pt x="3281" y="3058"/>
                      <a:pt x="3207" y="3118"/>
                      <a:pt x="3118" y="3109"/>
                    </a:cubicBezTo>
                    <a:cubicBezTo>
                      <a:pt x="3099" y="3108"/>
                      <a:pt x="3082" y="3103"/>
                      <a:pt x="3066" y="3095"/>
                    </a:cubicBezTo>
                    <a:cubicBezTo>
                      <a:pt x="3050" y="3088"/>
                      <a:pt x="3036" y="3079"/>
                      <a:pt x="3023" y="3068"/>
                    </a:cubicBezTo>
                    <a:cubicBezTo>
                      <a:pt x="2949" y="3020"/>
                      <a:pt x="2876" y="3028"/>
                      <a:pt x="2804" y="3054"/>
                    </a:cubicBezTo>
                    <a:cubicBezTo>
                      <a:pt x="2779" y="3063"/>
                      <a:pt x="2755" y="3074"/>
                      <a:pt x="2732" y="3085"/>
                    </a:cubicBezTo>
                    <a:cubicBezTo>
                      <a:pt x="2552" y="3238"/>
                      <a:pt x="2332" y="3162"/>
                      <a:pt x="2197" y="2960"/>
                    </a:cubicBezTo>
                    <a:cubicBezTo>
                      <a:pt x="2137" y="2872"/>
                      <a:pt x="1997" y="2937"/>
                      <a:pt x="1900" y="2963"/>
                    </a:cubicBezTo>
                    <a:cubicBezTo>
                      <a:pt x="1876" y="2968"/>
                      <a:pt x="1852" y="2970"/>
                      <a:pt x="1829" y="2968"/>
                    </a:cubicBezTo>
                    <a:cubicBezTo>
                      <a:pt x="1782" y="2964"/>
                      <a:pt x="1738" y="2945"/>
                      <a:pt x="1696" y="2901"/>
                    </a:cubicBezTo>
                    <a:cubicBezTo>
                      <a:pt x="1798" y="2809"/>
                      <a:pt x="1920" y="2729"/>
                      <a:pt x="2030" y="2641"/>
                    </a:cubicBezTo>
                    <a:cubicBezTo>
                      <a:pt x="2052" y="2623"/>
                      <a:pt x="2073" y="2605"/>
                      <a:pt x="2094" y="2587"/>
                    </a:cubicBezTo>
                    <a:cubicBezTo>
                      <a:pt x="2115" y="2568"/>
                      <a:pt x="2135" y="2550"/>
                      <a:pt x="2154" y="2530"/>
                    </a:cubicBezTo>
                    <a:cubicBezTo>
                      <a:pt x="2211" y="2471"/>
                      <a:pt x="2259" y="2406"/>
                      <a:pt x="2292" y="2330"/>
                    </a:cubicBezTo>
                    <a:cubicBezTo>
                      <a:pt x="2304" y="2303"/>
                      <a:pt x="2315" y="2277"/>
                      <a:pt x="2324" y="2249"/>
                    </a:cubicBezTo>
                    <a:cubicBezTo>
                      <a:pt x="2373" y="2114"/>
                      <a:pt x="2388" y="1973"/>
                      <a:pt x="2349" y="1866"/>
                    </a:cubicBezTo>
                    <a:cubicBezTo>
                      <a:pt x="2274" y="1654"/>
                      <a:pt x="2096" y="1579"/>
                      <a:pt x="1824" y="1548"/>
                    </a:cubicBezTo>
                    <a:cubicBezTo>
                      <a:pt x="1572" y="1519"/>
                      <a:pt x="1312" y="1523"/>
                      <a:pt x="1060" y="1492"/>
                    </a:cubicBezTo>
                    <a:cubicBezTo>
                      <a:pt x="771" y="1456"/>
                      <a:pt x="342" y="1382"/>
                      <a:pt x="263" y="1128"/>
                    </a:cubicBezTo>
                    <a:cubicBezTo>
                      <a:pt x="249" y="1082"/>
                      <a:pt x="248" y="1039"/>
                      <a:pt x="258" y="997"/>
                    </a:cubicBezTo>
                    <a:cubicBezTo>
                      <a:pt x="268" y="956"/>
                      <a:pt x="289" y="917"/>
                      <a:pt x="317" y="881"/>
                    </a:cubicBezTo>
                    <a:cubicBezTo>
                      <a:pt x="426" y="756"/>
                      <a:pt x="582" y="684"/>
                      <a:pt x="738" y="631"/>
                    </a:cubicBezTo>
                    <a:cubicBezTo>
                      <a:pt x="796" y="611"/>
                      <a:pt x="856" y="593"/>
                      <a:pt x="915" y="576"/>
                    </a:cubicBezTo>
                    <a:cubicBezTo>
                      <a:pt x="985" y="556"/>
                      <a:pt x="1261" y="511"/>
                      <a:pt x="1225" y="404"/>
                    </a:cubicBezTo>
                    <a:cubicBezTo>
                      <a:pt x="1216" y="378"/>
                      <a:pt x="1195" y="358"/>
                      <a:pt x="1170" y="345"/>
                    </a:cubicBezTo>
                    <a:cubicBezTo>
                      <a:pt x="1049" y="284"/>
                      <a:pt x="907" y="268"/>
                      <a:pt x="772" y="259"/>
                    </a:cubicBezTo>
                    <a:cubicBezTo>
                      <a:pt x="627" y="249"/>
                      <a:pt x="481" y="244"/>
                      <a:pt x="335" y="238"/>
                    </a:cubicBezTo>
                    <a:cubicBezTo>
                      <a:pt x="316" y="237"/>
                      <a:pt x="78" y="213"/>
                      <a:pt x="78" y="227"/>
                    </a:cubicBezTo>
                    <a:cubicBezTo>
                      <a:pt x="77" y="187"/>
                      <a:pt x="66" y="163"/>
                      <a:pt x="49" y="127"/>
                    </a:cubicBezTo>
                    <a:cubicBezTo>
                      <a:pt x="39" y="108"/>
                      <a:pt x="34" y="86"/>
                      <a:pt x="25" y="67"/>
                    </a:cubicBezTo>
                    <a:cubicBezTo>
                      <a:pt x="18" y="53"/>
                      <a:pt x="0" y="32"/>
                      <a:pt x="7" y="15"/>
                    </a:cubicBezTo>
                    <a:cubicBezTo>
                      <a:pt x="14" y="0"/>
                      <a:pt x="61" y="1"/>
                      <a:pt x="92" y="2"/>
                    </a:cubicBezTo>
                    <a:cubicBezTo>
                      <a:pt x="101" y="3"/>
                      <a:pt x="109" y="3"/>
                      <a:pt x="114" y="3"/>
                    </a:cubicBezTo>
                    <a:cubicBezTo>
                      <a:pt x="196" y="2"/>
                      <a:pt x="278" y="5"/>
                      <a:pt x="361" y="10"/>
                    </a:cubicBezTo>
                    <a:cubicBezTo>
                      <a:pt x="525" y="21"/>
                      <a:pt x="688" y="43"/>
                      <a:pt x="851" y="65"/>
                    </a:cubicBezTo>
                    <a:cubicBezTo>
                      <a:pt x="856" y="65"/>
                      <a:pt x="861" y="66"/>
                      <a:pt x="865" y="67"/>
                    </a:cubicBezTo>
                    <a:cubicBezTo>
                      <a:pt x="931" y="75"/>
                      <a:pt x="994" y="85"/>
                      <a:pt x="1055" y="95"/>
                    </a:cubicBezTo>
                    <a:cubicBezTo>
                      <a:pt x="1235" y="124"/>
                      <a:pt x="1389" y="157"/>
                      <a:pt x="1450" y="183"/>
                    </a:cubicBezTo>
                    <a:cubicBezTo>
                      <a:pt x="1623" y="256"/>
                      <a:pt x="1802" y="347"/>
                      <a:pt x="1733" y="524"/>
                    </a:cubicBezTo>
                    <a:cubicBezTo>
                      <a:pt x="1683" y="653"/>
                      <a:pt x="1520" y="713"/>
                      <a:pt x="1362" y="752"/>
                    </a:cubicBezTo>
                    <a:cubicBezTo>
                      <a:pt x="1249" y="780"/>
                      <a:pt x="990" y="833"/>
                      <a:pt x="933" y="921"/>
                    </a:cubicBezTo>
                    <a:cubicBezTo>
                      <a:pt x="905" y="964"/>
                      <a:pt x="918" y="1018"/>
                      <a:pt x="958" y="1052"/>
                    </a:cubicBezTo>
                    <a:cubicBezTo>
                      <a:pt x="1055" y="1133"/>
                      <a:pt x="1308" y="1132"/>
                      <a:pt x="1477" y="1131"/>
                    </a:cubicBezTo>
                    <a:cubicBezTo>
                      <a:pt x="1505" y="1131"/>
                      <a:pt x="1530" y="1131"/>
                      <a:pt x="1552" y="1131"/>
                    </a:cubicBezTo>
                    <a:cubicBezTo>
                      <a:pt x="1618" y="1132"/>
                      <a:pt x="1684" y="1130"/>
                      <a:pt x="1751" y="1129"/>
                    </a:cubicBezTo>
                    <a:cubicBezTo>
                      <a:pt x="1849" y="1126"/>
                      <a:pt x="1947" y="1123"/>
                      <a:pt x="2044" y="1128"/>
                    </a:cubicBezTo>
                    <a:cubicBezTo>
                      <a:pt x="2836" y="1171"/>
                      <a:pt x="3481" y="1598"/>
                      <a:pt x="3624" y="2178"/>
                    </a:cubicBezTo>
                    <a:cubicBezTo>
                      <a:pt x="3630" y="2203"/>
                      <a:pt x="3637" y="2233"/>
                      <a:pt x="3643" y="2265"/>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72"/>
              <p:cNvSpPr>
                <a:spLocks/>
              </p:cNvSpPr>
              <p:nvPr/>
            </p:nvSpPr>
            <p:spPr bwMode="auto">
              <a:xfrm>
                <a:off x="-285249" y="1100982"/>
                <a:ext cx="7401525" cy="6567444"/>
              </a:xfrm>
              <a:custGeom>
                <a:avLst/>
                <a:gdLst>
                  <a:gd name="T0" fmla="*/ 3643 w 3657"/>
                  <a:gd name="T1" fmla="*/ 2270 h 3243"/>
                  <a:gd name="T2" fmla="*/ 3625 w 3657"/>
                  <a:gd name="T3" fmla="*/ 2400 h 3243"/>
                  <a:gd name="T4" fmla="*/ 3619 w 3657"/>
                  <a:gd name="T5" fmla="*/ 2450 h 3243"/>
                  <a:gd name="T6" fmla="*/ 3653 w 3657"/>
                  <a:gd name="T7" fmla="*/ 2942 h 3243"/>
                  <a:gd name="T8" fmla="*/ 3644 w 3657"/>
                  <a:gd name="T9" fmla="*/ 3023 h 3243"/>
                  <a:gd name="T10" fmla="*/ 3583 w 3657"/>
                  <a:gd name="T11" fmla="*/ 3010 h 3243"/>
                  <a:gd name="T12" fmla="*/ 3514 w 3657"/>
                  <a:gd name="T13" fmla="*/ 2986 h 3243"/>
                  <a:gd name="T14" fmla="*/ 3361 w 3657"/>
                  <a:gd name="T15" fmla="*/ 3018 h 3243"/>
                  <a:gd name="T16" fmla="*/ 3118 w 3657"/>
                  <a:gd name="T17" fmla="*/ 3114 h 3243"/>
                  <a:gd name="T18" fmla="*/ 3066 w 3657"/>
                  <a:gd name="T19" fmla="*/ 3100 h 3243"/>
                  <a:gd name="T20" fmla="*/ 3023 w 3657"/>
                  <a:gd name="T21" fmla="*/ 3073 h 3243"/>
                  <a:gd name="T22" fmla="*/ 2804 w 3657"/>
                  <a:gd name="T23" fmla="*/ 3059 h 3243"/>
                  <a:gd name="T24" fmla="*/ 2732 w 3657"/>
                  <a:gd name="T25" fmla="*/ 3090 h 3243"/>
                  <a:gd name="T26" fmla="*/ 2197 w 3657"/>
                  <a:gd name="T27" fmla="*/ 2964 h 3243"/>
                  <a:gd name="T28" fmla="*/ 1900 w 3657"/>
                  <a:gd name="T29" fmla="*/ 2968 h 3243"/>
                  <a:gd name="T30" fmla="*/ 1829 w 3657"/>
                  <a:gd name="T31" fmla="*/ 2973 h 3243"/>
                  <a:gd name="T32" fmla="*/ 1696 w 3657"/>
                  <a:gd name="T33" fmla="*/ 2906 h 3243"/>
                  <a:gd name="T34" fmla="*/ 2030 w 3657"/>
                  <a:gd name="T35" fmla="*/ 2646 h 3243"/>
                  <a:gd name="T36" fmla="*/ 2094 w 3657"/>
                  <a:gd name="T37" fmla="*/ 2592 h 3243"/>
                  <a:gd name="T38" fmla="*/ 2154 w 3657"/>
                  <a:gd name="T39" fmla="*/ 2535 h 3243"/>
                  <a:gd name="T40" fmla="*/ 2292 w 3657"/>
                  <a:gd name="T41" fmla="*/ 2335 h 3243"/>
                  <a:gd name="T42" fmla="*/ 2324 w 3657"/>
                  <a:gd name="T43" fmla="*/ 2254 h 3243"/>
                  <a:gd name="T44" fmla="*/ 2349 w 3657"/>
                  <a:gd name="T45" fmla="*/ 1871 h 3243"/>
                  <a:gd name="T46" fmla="*/ 1824 w 3657"/>
                  <a:gd name="T47" fmla="*/ 1553 h 3243"/>
                  <a:gd name="T48" fmla="*/ 1060 w 3657"/>
                  <a:gd name="T49" fmla="*/ 1497 h 3243"/>
                  <a:gd name="T50" fmla="*/ 263 w 3657"/>
                  <a:gd name="T51" fmla="*/ 1133 h 3243"/>
                  <a:gd name="T52" fmla="*/ 258 w 3657"/>
                  <a:gd name="T53" fmla="*/ 1002 h 3243"/>
                  <a:gd name="T54" fmla="*/ 317 w 3657"/>
                  <a:gd name="T55" fmla="*/ 886 h 3243"/>
                  <a:gd name="T56" fmla="*/ 738 w 3657"/>
                  <a:gd name="T57" fmla="*/ 636 h 3243"/>
                  <a:gd name="T58" fmla="*/ 915 w 3657"/>
                  <a:gd name="T59" fmla="*/ 581 h 3243"/>
                  <a:gd name="T60" fmla="*/ 1225 w 3657"/>
                  <a:gd name="T61" fmla="*/ 409 h 3243"/>
                  <a:gd name="T62" fmla="*/ 1170 w 3657"/>
                  <a:gd name="T63" fmla="*/ 350 h 3243"/>
                  <a:gd name="T64" fmla="*/ 772 w 3657"/>
                  <a:gd name="T65" fmla="*/ 264 h 3243"/>
                  <a:gd name="T66" fmla="*/ 335 w 3657"/>
                  <a:gd name="T67" fmla="*/ 243 h 3243"/>
                  <a:gd name="T68" fmla="*/ 78 w 3657"/>
                  <a:gd name="T69" fmla="*/ 232 h 3243"/>
                  <a:gd name="T70" fmla="*/ 49 w 3657"/>
                  <a:gd name="T71" fmla="*/ 132 h 3243"/>
                  <a:gd name="T72" fmla="*/ 25 w 3657"/>
                  <a:gd name="T73" fmla="*/ 72 h 3243"/>
                  <a:gd name="T74" fmla="*/ 7 w 3657"/>
                  <a:gd name="T75" fmla="*/ 20 h 3243"/>
                  <a:gd name="T76" fmla="*/ 114 w 3657"/>
                  <a:gd name="T77" fmla="*/ 8 h 3243"/>
                  <a:gd name="T78" fmla="*/ 361 w 3657"/>
                  <a:gd name="T79" fmla="*/ 15 h 3243"/>
                  <a:gd name="T80" fmla="*/ 851 w 3657"/>
                  <a:gd name="T81" fmla="*/ 70 h 3243"/>
                  <a:gd name="T82" fmla="*/ 865 w 3657"/>
                  <a:gd name="T83" fmla="*/ 72 h 3243"/>
                  <a:gd name="T84" fmla="*/ 1055 w 3657"/>
                  <a:gd name="T85" fmla="*/ 100 h 3243"/>
                  <a:gd name="T86" fmla="*/ 1450 w 3657"/>
                  <a:gd name="T87" fmla="*/ 187 h 3243"/>
                  <a:gd name="T88" fmla="*/ 1733 w 3657"/>
                  <a:gd name="T89" fmla="*/ 529 h 3243"/>
                  <a:gd name="T90" fmla="*/ 1362 w 3657"/>
                  <a:gd name="T91" fmla="*/ 757 h 3243"/>
                  <a:gd name="T92" fmla="*/ 933 w 3657"/>
                  <a:gd name="T93" fmla="*/ 926 h 3243"/>
                  <a:gd name="T94" fmla="*/ 958 w 3657"/>
                  <a:gd name="T95" fmla="*/ 1057 h 3243"/>
                  <a:gd name="T96" fmla="*/ 1552 w 3657"/>
                  <a:gd name="T97" fmla="*/ 1136 h 3243"/>
                  <a:gd name="T98" fmla="*/ 2044 w 3657"/>
                  <a:gd name="T99" fmla="*/ 1133 h 3243"/>
                  <a:gd name="T100" fmla="*/ 3624 w 3657"/>
                  <a:gd name="T101" fmla="*/ 2183 h 3243"/>
                  <a:gd name="T102" fmla="*/ 3643 w 3657"/>
                  <a:gd name="T103" fmla="*/ 227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57" h="3243">
                    <a:moveTo>
                      <a:pt x="3643" y="2270"/>
                    </a:moveTo>
                    <a:cubicBezTo>
                      <a:pt x="3643" y="2270"/>
                      <a:pt x="3635" y="2325"/>
                      <a:pt x="3625" y="2400"/>
                    </a:cubicBezTo>
                    <a:cubicBezTo>
                      <a:pt x="3623" y="2416"/>
                      <a:pt x="3621" y="2432"/>
                      <a:pt x="3619" y="2450"/>
                    </a:cubicBezTo>
                    <a:cubicBezTo>
                      <a:pt x="3587" y="2612"/>
                      <a:pt x="3643" y="2774"/>
                      <a:pt x="3653" y="2942"/>
                    </a:cubicBezTo>
                    <a:cubicBezTo>
                      <a:pt x="3655" y="2972"/>
                      <a:pt x="3657" y="3005"/>
                      <a:pt x="3644" y="3023"/>
                    </a:cubicBezTo>
                    <a:cubicBezTo>
                      <a:pt x="3635" y="3037"/>
                      <a:pt x="3603" y="3019"/>
                      <a:pt x="3583" y="3010"/>
                    </a:cubicBezTo>
                    <a:cubicBezTo>
                      <a:pt x="3560" y="3001"/>
                      <a:pt x="3537" y="2992"/>
                      <a:pt x="3514" y="2986"/>
                    </a:cubicBezTo>
                    <a:cubicBezTo>
                      <a:pt x="3458" y="2972"/>
                      <a:pt x="3408" y="2993"/>
                      <a:pt x="3361" y="3018"/>
                    </a:cubicBezTo>
                    <a:cubicBezTo>
                      <a:pt x="3281" y="3063"/>
                      <a:pt x="3207" y="3123"/>
                      <a:pt x="3118" y="3114"/>
                    </a:cubicBezTo>
                    <a:cubicBezTo>
                      <a:pt x="3099" y="3113"/>
                      <a:pt x="3082" y="3108"/>
                      <a:pt x="3066" y="3100"/>
                    </a:cubicBezTo>
                    <a:cubicBezTo>
                      <a:pt x="3050" y="3093"/>
                      <a:pt x="3036" y="3084"/>
                      <a:pt x="3023" y="3073"/>
                    </a:cubicBezTo>
                    <a:cubicBezTo>
                      <a:pt x="2949" y="3025"/>
                      <a:pt x="2876" y="3033"/>
                      <a:pt x="2804" y="3059"/>
                    </a:cubicBezTo>
                    <a:cubicBezTo>
                      <a:pt x="2779" y="3068"/>
                      <a:pt x="2755" y="3079"/>
                      <a:pt x="2732" y="3090"/>
                    </a:cubicBezTo>
                    <a:cubicBezTo>
                      <a:pt x="2552" y="3243"/>
                      <a:pt x="2332" y="3167"/>
                      <a:pt x="2197" y="2964"/>
                    </a:cubicBezTo>
                    <a:cubicBezTo>
                      <a:pt x="2137" y="2877"/>
                      <a:pt x="1997" y="2942"/>
                      <a:pt x="1900" y="2968"/>
                    </a:cubicBezTo>
                    <a:cubicBezTo>
                      <a:pt x="1876" y="2973"/>
                      <a:pt x="1852" y="2975"/>
                      <a:pt x="1829" y="2973"/>
                    </a:cubicBezTo>
                    <a:cubicBezTo>
                      <a:pt x="1782" y="2969"/>
                      <a:pt x="1738" y="2950"/>
                      <a:pt x="1696" y="2906"/>
                    </a:cubicBezTo>
                    <a:cubicBezTo>
                      <a:pt x="1798" y="2814"/>
                      <a:pt x="1920" y="2734"/>
                      <a:pt x="2030" y="2646"/>
                    </a:cubicBezTo>
                    <a:cubicBezTo>
                      <a:pt x="2052" y="2628"/>
                      <a:pt x="2073" y="2610"/>
                      <a:pt x="2094" y="2592"/>
                    </a:cubicBezTo>
                    <a:cubicBezTo>
                      <a:pt x="2115" y="2573"/>
                      <a:pt x="2135" y="2554"/>
                      <a:pt x="2154" y="2535"/>
                    </a:cubicBezTo>
                    <a:cubicBezTo>
                      <a:pt x="2211" y="2476"/>
                      <a:pt x="2259" y="2411"/>
                      <a:pt x="2292" y="2335"/>
                    </a:cubicBezTo>
                    <a:cubicBezTo>
                      <a:pt x="2304" y="2308"/>
                      <a:pt x="2315" y="2281"/>
                      <a:pt x="2324" y="2254"/>
                    </a:cubicBezTo>
                    <a:cubicBezTo>
                      <a:pt x="2373" y="2119"/>
                      <a:pt x="2388" y="1978"/>
                      <a:pt x="2349" y="1871"/>
                    </a:cubicBezTo>
                    <a:cubicBezTo>
                      <a:pt x="2274" y="1659"/>
                      <a:pt x="2096" y="1584"/>
                      <a:pt x="1824" y="1553"/>
                    </a:cubicBezTo>
                    <a:cubicBezTo>
                      <a:pt x="1572" y="1524"/>
                      <a:pt x="1312" y="1528"/>
                      <a:pt x="1060" y="1497"/>
                    </a:cubicBezTo>
                    <a:cubicBezTo>
                      <a:pt x="771" y="1461"/>
                      <a:pt x="342" y="1387"/>
                      <a:pt x="263" y="1133"/>
                    </a:cubicBezTo>
                    <a:cubicBezTo>
                      <a:pt x="249" y="1087"/>
                      <a:pt x="248" y="1043"/>
                      <a:pt x="258" y="1002"/>
                    </a:cubicBezTo>
                    <a:cubicBezTo>
                      <a:pt x="268" y="961"/>
                      <a:pt x="289" y="922"/>
                      <a:pt x="317" y="886"/>
                    </a:cubicBezTo>
                    <a:cubicBezTo>
                      <a:pt x="426" y="761"/>
                      <a:pt x="582" y="689"/>
                      <a:pt x="738" y="636"/>
                    </a:cubicBezTo>
                    <a:cubicBezTo>
                      <a:pt x="796" y="615"/>
                      <a:pt x="856" y="598"/>
                      <a:pt x="915" y="581"/>
                    </a:cubicBezTo>
                    <a:cubicBezTo>
                      <a:pt x="985" y="561"/>
                      <a:pt x="1261" y="516"/>
                      <a:pt x="1225" y="409"/>
                    </a:cubicBezTo>
                    <a:cubicBezTo>
                      <a:pt x="1216" y="383"/>
                      <a:pt x="1195" y="363"/>
                      <a:pt x="1170" y="350"/>
                    </a:cubicBezTo>
                    <a:cubicBezTo>
                      <a:pt x="1049" y="289"/>
                      <a:pt x="907" y="273"/>
                      <a:pt x="772" y="264"/>
                    </a:cubicBezTo>
                    <a:cubicBezTo>
                      <a:pt x="627" y="254"/>
                      <a:pt x="481" y="249"/>
                      <a:pt x="335" y="243"/>
                    </a:cubicBezTo>
                    <a:cubicBezTo>
                      <a:pt x="316" y="242"/>
                      <a:pt x="78" y="218"/>
                      <a:pt x="78" y="232"/>
                    </a:cubicBezTo>
                    <a:cubicBezTo>
                      <a:pt x="77" y="192"/>
                      <a:pt x="66" y="168"/>
                      <a:pt x="49" y="132"/>
                    </a:cubicBezTo>
                    <a:cubicBezTo>
                      <a:pt x="39" y="113"/>
                      <a:pt x="34" y="91"/>
                      <a:pt x="25" y="72"/>
                    </a:cubicBezTo>
                    <a:cubicBezTo>
                      <a:pt x="18" y="58"/>
                      <a:pt x="0" y="37"/>
                      <a:pt x="7" y="20"/>
                    </a:cubicBezTo>
                    <a:cubicBezTo>
                      <a:pt x="16" y="0"/>
                      <a:pt x="93" y="8"/>
                      <a:pt x="114" y="8"/>
                    </a:cubicBezTo>
                    <a:cubicBezTo>
                      <a:pt x="196" y="7"/>
                      <a:pt x="278" y="9"/>
                      <a:pt x="361" y="15"/>
                    </a:cubicBezTo>
                    <a:cubicBezTo>
                      <a:pt x="525" y="26"/>
                      <a:pt x="688" y="48"/>
                      <a:pt x="851" y="70"/>
                    </a:cubicBezTo>
                    <a:cubicBezTo>
                      <a:pt x="856" y="70"/>
                      <a:pt x="861" y="71"/>
                      <a:pt x="865" y="72"/>
                    </a:cubicBezTo>
                    <a:cubicBezTo>
                      <a:pt x="931" y="80"/>
                      <a:pt x="994" y="90"/>
                      <a:pt x="1055" y="100"/>
                    </a:cubicBezTo>
                    <a:cubicBezTo>
                      <a:pt x="1235" y="129"/>
                      <a:pt x="1389" y="162"/>
                      <a:pt x="1450" y="187"/>
                    </a:cubicBezTo>
                    <a:cubicBezTo>
                      <a:pt x="1623" y="261"/>
                      <a:pt x="1802" y="352"/>
                      <a:pt x="1733" y="529"/>
                    </a:cubicBezTo>
                    <a:cubicBezTo>
                      <a:pt x="1683" y="657"/>
                      <a:pt x="1520" y="718"/>
                      <a:pt x="1362" y="757"/>
                    </a:cubicBezTo>
                    <a:cubicBezTo>
                      <a:pt x="1249" y="785"/>
                      <a:pt x="990" y="838"/>
                      <a:pt x="933" y="926"/>
                    </a:cubicBezTo>
                    <a:cubicBezTo>
                      <a:pt x="905" y="969"/>
                      <a:pt x="918" y="1023"/>
                      <a:pt x="958" y="1057"/>
                    </a:cubicBezTo>
                    <a:cubicBezTo>
                      <a:pt x="1070" y="1151"/>
                      <a:pt x="1393" y="1135"/>
                      <a:pt x="1552" y="1136"/>
                    </a:cubicBezTo>
                    <a:cubicBezTo>
                      <a:pt x="1715" y="1138"/>
                      <a:pt x="1882" y="1125"/>
                      <a:pt x="2044" y="1133"/>
                    </a:cubicBezTo>
                    <a:cubicBezTo>
                      <a:pt x="2836" y="1176"/>
                      <a:pt x="3481" y="1603"/>
                      <a:pt x="3624" y="2183"/>
                    </a:cubicBezTo>
                    <a:cubicBezTo>
                      <a:pt x="3630" y="2208"/>
                      <a:pt x="3637" y="2238"/>
                      <a:pt x="3643" y="2270"/>
                    </a:cubicBezTo>
                    <a:close/>
                  </a:path>
                </a:pathLst>
              </a:custGeom>
              <a:solidFill>
                <a:schemeClr val="tx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73"/>
              <p:cNvSpPr>
                <a:spLocks/>
              </p:cNvSpPr>
              <p:nvPr/>
            </p:nvSpPr>
            <p:spPr bwMode="auto">
              <a:xfrm>
                <a:off x="-322072" y="1032473"/>
                <a:ext cx="7496581" cy="6566588"/>
              </a:xfrm>
              <a:custGeom>
                <a:avLst/>
                <a:gdLst>
                  <a:gd name="T0" fmla="*/ 3666 w 3704"/>
                  <a:gd name="T1" fmla="*/ 2260 h 3243"/>
                  <a:gd name="T2" fmla="*/ 3636 w 3704"/>
                  <a:gd name="T3" fmla="*/ 2488 h 3243"/>
                  <a:gd name="T4" fmla="*/ 3629 w 3704"/>
                  <a:gd name="T5" fmla="*/ 2551 h 3243"/>
                  <a:gd name="T6" fmla="*/ 3626 w 3704"/>
                  <a:gd name="T7" fmla="*/ 2635 h 3243"/>
                  <a:gd name="T8" fmla="*/ 3656 w 3704"/>
                  <a:gd name="T9" fmla="*/ 3016 h 3243"/>
                  <a:gd name="T10" fmla="*/ 3615 w 3704"/>
                  <a:gd name="T11" fmla="*/ 3009 h 3243"/>
                  <a:gd name="T12" fmla="*/ 3551 w 3704"/>
                  <a:gd name="T13" fmla="*/ 2983 h 3243"/>
                  <a:gd name="T14" fmla="*/ 3440 w 3704"/>
                  <a:gd name="T15" fmla="*/ 2989 h 3243"/>
                  <a:gd name="T16" fmla="*/ 3145 w 3704"/>
                  <a:gd name="T17" fmla="*/ 3105 h 3243"/>
                  <a:gd name="T18" fmla="*/ 3073 w 3704"/>
                  <a:gd name="T19" fmla="*/ 3085 h 3243"/>
                  <a:gd name="T20" fmla="*/ 2826 w 3704"/>
                  <a:gd name="T21" fmla="*/ 3050 h 3243"/>
                  <a:gd name="T22" fmla="*/ 2771 w 3704"/>
                  <a:gd name="T23" fmla="*/ 3072 h 3243"/>
                  <a:gd name="T24" fmla="*/ 2386 w 3704"/>
                  <a:gd name="T25" fmla="*/ 3139 h 3243"/>
                  <a:gd name="T26" fmla="*/ 2262 w 3704"/>
                  <a:gd name="T27" fmla="*/ 2952 h 3243"/>
                  <a:gd name="T28" fmla="*/ 1897 w 3704"/>
                  <a:gd name="T29" fmla="*/ 2970 h 3243"/>
                  <a:gd name="T30" fmla="*/ 1813 w 3704"/>
                  <a:gd name="T31" fmla="*/ 2969 h 3243"/>
                  <a:gd name="T32" fmla="*/ 1745 w 3704"/>
                  <a:gd name="T33" fmla="*/ 2907 h 3243"/>
                  <a:gd name="T34" fmla="*/ 2373 w 3704"/>
                  <a:gd name="T35" fmla="*/ 1861 h 3243"/>
                  <a:gd name="T36" fmla="*/ 1848 w 3704"/>
                  <a:gd name="T37" fmla="*/ 1543 h 3243"/>
                  <a:gd name="T38" fmla="*/ 1084 w 3704"/>
                  <a:gd name="T39" fmla="*/ 1487 h 3243"/>
                  <a:gd name="T40" fmla="*/ 287 w 3704"/>
                  <a:gd name="T41" fmla="*/ 1123 h 3243"/>
                  <a:gd name="T42" fmla="*/ 282 w 3704"/>
                  <a:gd name="T43" fmla="*/ 992 h 3243"/>
                  <a:gd name="T44" fmla="*/ 734 w 3704"/>
                  <a:gd name="T45" fmla="*/ 632 h 3243"/>
                  <a:gd name="T46" fmla="*/ 1252 w 3704"/>
                  <a:gd name="T47" fmla="*/ 396 h 3243"/>
                  <a:gd name="T48" fmla="*/ 851 w 3704"/>
                  <a:gd name="T49" fmla="*/ 253 h 3243"/>
                  <a:gd name="T50" fmla="*/ 173 w 3704"/>
                  <a:gd name="T51" fmla="*/ 204 h 3243"/>
                  <a:gd name="T52" fmla="*/ 94 w 3704"/>
                  <a:gd name="T53" fmla="*/ 202 h 3243"/>
                  <a:gd name="T54" fmla="*/ 49 w 3704"/>
                  <a:gd name="T55" fmla="*/ 93 h 3243"/>
                  <a:gd name="T56" fmla="*/ 0 w 3704"/>
                  <a:gd name="T57" fmla="*/ 4 h 3243"/>
                  <a:gd name="T58" fmla="*/ 216 w 3704"/>
                  <a:gd name="T59" fmla="*/ 2 h 3243"/>
                  <a:gd name="T60" fmla="*/ 832 w 3704"/>
                  <a:gd name="T61" fmla="*/ 45 h 3243"/>
                  <a:gd name="T62" fmla="*/ 1346 w 3704"/>
                  <a:gd name="T63" fmla="*/ 131 h 3243"/>
                  <a:gd name="T64" fmla="*/ 1729 w 3704"/>
                  <a:gd name="T65" fmla="*/ 322 h 3243"/>
                  <a:gd name="T66" fmla="*/ 1756 w 3704"/>
                  <a:gd name="T67" fmla="*/ 519 h 3243"/>
                  <a:gd name="T68" fmla="*/ 1386 w 3704"/>
                  <a:gd name="T69" fmla="*/ 747 h 3243"/>
                  <a:gd name="T70" fmla="*/ 957 w 3704"/>
                  <a:gd name="T71" fmla="*/ 916 h 3243"/>
                  <a:gd name="T72" fmla="*/ 982 w 3704"/>
                  <a:gd name="T73" fmla="*/ 1047 h 3243"/>
                  <a:gd name="T74" fmla="*/ 1575 w 3704"/>
                  <a:gd name="T75" fmla="*/ 1127 h 3243"/>
                  <a:gd name="T76" fmla="*/ 2067 w 3704"/>
                  <a:gd name="T77" fmla="*/ 1124 h 3243"/>
                  <a:gd name="T78" fmla="*/ 3648 w 3704"/>
                  <a:gd name="T79" fmla="*/ 2173 h 3243"/>
                  <a:gd name="T80" fmla="*/ 3666 w 3704"/>
                  <a:gd name="T81"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04" h="3243">
                    <a:moveTo>
                      <a:pt x="3666" y="2260"/>
                    </a:moveTo>
                    <a:cubicBezTo>
                      <a:pt x="3666" y="2260"/>
                      <a:pt x="3652" y="2367"/>
                      <a:pt x="3636" y="2488"/>
                    </a:cubicBezTo>
                    <a:cubicBezTo>
                      <a:pt x="3633" y="2511"/>
                      <a:pt x="3631" y="2530"/>
                      <a:pt x="3629" y="2551"/>
                    </a:cubicBezTo>
                    <a:cubicBezTo>
                      <a:pt x="3622" y="2578"/>
                      <a:pt x="3628" y="2609"/>
                      <a:pt x="3626" y="2635"/>
                    </a:cubicBezTo>
                    <a:cubicBezTo>
                      <a:pt x="3635" y="2765"/>
                      <a:pt x="3704" y="2898"/>
                      <a:pt x="3656" y="3016"/>
                    </a:cubicBezTo>
                    <a:cubicBezTo>
                      <a:pt x="3654" y="3022"/>
                      <a:pt x="3636" y="3017"/>
                      <a:pt x="3615" y="3009"/>
                    </a:cubicBezTo>
                    <a:cubicBezTo>
                      <a:pt x="3594" y="3001"/>
                      <a:pt x="3569" y="2990"/>
                      <a:pt x="3551" y="2983"/>
                    </a:cubicBezTo>
                    <a:cubicBezTo>
                      <a:pt x="3515" y="2970"/>
                      <a:pt x="3474" y="2977"/>
                      <a:pt x="3440" y="2989"/>
                    </a:cubicBezTo>
                    <a:cubicBezTo>
                      <a:pt x="3351" y="3022"/>
                      <a:pt x="3242" y="3109"/>
                      <a:pt x="3145" y="3105"/>
                    </a:cubicBezTo>
                    <a:cubicBezTo>
                      <a:pt x="3121" y="3105"/>
                      <a:pt x="3097" y="3098"/>
                      <a:pt x="3073" y="3085"/>
                    </a:cubicBezTo>
                    <a:cubicBezTo>
                      <a:pt x="2999" y="3033"/>
                      <a:pt x="2910" y="3021"/>
                      <a:pt x="2826" y="3050"/>
                    </a:cubicBezTo>
                    <a:cubicBezTo>
                      <a:pt x="2808" y="3056"/>
                      <a:pt x="2790" y="3063"/>
                      <a:pt x="2771" y="3072"/>
                    </a:cubicBezTo>
                    <a:cubicBezTo>
                      <a:pt x="2661" y="3127"/>
                      <a:pt x="2507" y="3243"/>
                      <a:pt x="2386" y="3139"/>
                    </a:cubicBezTo>
                    <a:cubicBezTo>
                      <a:pt x="2324" y="3088"/>
                      <a:pt x="2321" y="3002"/>
                      <a:pt x="2262" y="2952"/>
                    </a:cubicBezTo>
                    <a:cubicBezTo>
                      <a:pt x="2153" y="2864"/>
                      <a:pt x="2013" y="2936"/>
                      <a:pt x="1897" y="2970"/>
                    </a:cubicBezTo>
                    <a:cubicBezTo>
                      <a:pt x="1868" y="2973"/>
                      <a:pt x="1839" y="2973"/>
                      <a:pt x="1813" y="2969"/>
                    </a:cubicBezTo>
                    <a:cubicBezTo>
                      <a:pt x="1762" y="2961"/>
                      <a:pt x="1726" y="2939"/>
                      <a:pt x="1745" y="2907"/>
                    </a:cubicBezTo>
                    <a:cubicBezTo>
                      <a:pt x="1825" y="2769"/>
                      <a:pt x="2556" y="2259"/>
                      <a:pt x="2373" y="1861"/>
                    </a:cubicBezTo>
                    <a:cubicBezTo>
                      <a:pt x="2279" y="1657"/>
                      <a:pt x="2119" y="1574"/>
                      <a:pt x="1848" y="1543"/>
                    </a:cubicBezTo>
                    <a:cubicBezTo>
                      <a:pt x="1596" y="1514"/>
                      <a:pt x="1336" y="1518"/>
                      <a:pt x="1084" y="1487"/>
                    </a:cubicBezTo>
                    <a:cubicBezTo>
                      <a:pt x="795" y="1451"/>
                      <a:pt x="366" y="1377"/>
                      <a:pt x="287" y="1123"/>
                    </a:cubicBezTo>
                    <a:cubicBezTo>
                      <a:pt x="273" y="1077"/>
                      <a:pt x="272" y="1034"/>
                      <a:pt x="282" y="992"/>
                    </a:cubicBezTo>
                    <a:cubicBezTo>
                      <a:pt x="329" y="794"/>
                      <a:pt x="555" y="678"/>
                      <a:pt x="734" y="632"/>
                    </a:cubicBezTo>
                    <a:cubicBezTo>
                      <a:pt x="825" y="608"/>
                      <a:pt x="1300" y="526"/>
                      <a:pt x="1252" y="396"/>
                    </a:cubicBezTo>
                    <a:cubicBezTo>
                      <a:pt x="1205" y="269"/>
                      <a:pt x="959" y="263"/>
                      <a:pt x="851" y="253"/>
                    </a:cubicBezTo>
                    <a:cubicBezTo>
                      <a:pt x="624" y="234"/>
                      <a:pt x="398" y="230"/>
                      <a:pt x="173" y="204"/>
                    </a:cubicBezTo>
                    <a:cubicBezTo>
                      <a:pt x="148" y="202"/>
                      <a:pt x="118" y="193"/>
                      <a:pt x="94" y="202"/>
                    </a:cubicBezTo>
                    <a:cubicBezTo>
                      <a:pt x="86" y="166"/>
                      <a:pt x="73" y="122"/>
                      <a:pt x="49" y="93"/>
                    </a:cubicBezTo>
                    <a:cubicBezTo>
                      <a:pt x="26" y="65"/>
                      <a:pt x="9" y="41"/>
                      <a:pt x="0" y="4"/>
                    </a:cubicBezTo>
                    <a:cubicBezTo>
                      <a:pt x="71" y="0"/>
                      <a:pt x="144" y="0"/>
                      <a:pt x="216" y="2"/>
                    </a:cubicBezTo>
                    <a:cubicBezTo>
                      <a:pt x="422" y="7"/>
                      <a:pt x="627" y="23"/>
                      <a:pt x="832" y="45"/>
                    </a:cubicBezTo>
                    <a:cubicBezTo>
                      <a:pt x="1004" y="64"/>
                      <a:pt x="1177" y="88"/>
                      <a:pt x="1346" y="131"/>
                    </a:cubicBezTo>
                    <a:cubicBezTo>
                      <a:pt x="1477" y="165"/>
                      <a:pt x="1640" y="211"/>
                      <a:pt x="1729" y="322"/>
                    </a:cubicBezTo>
                    <a:cubicBezTo>
                      <a:pt x="1775" y="380"/>
                      <a:pt x="1783" y="451"/>
                      <a:pt x="1756" y="519"/>
                    </a:cubicBezTo>
                    <a:cubicBezTo>
                      <a:pt x="1706" y="648"/>
                      <a:pt x="1543" y="708"/>
                      <a:pt x="1386" y="747"/>
                    </a:cubicBezTo>
                    <a:cubicBezTo>
                      <a:pt x="1272" y="776"/>
                      <a:pt x="1013" y="828"/>
                      <a:pt x="957" y="916"/>
                    </a:cubicBezTo>
                    <a:cubicBezTo>
                      <a:pt x="929" y="959"/>
                      <a:pt x="941" y="1013"/>
                      <a:pt x="982" y="1047"/>
                    </a:cubicBezTo>
                    <a:cubicBezTo>
                      <a:pt x="1094" y="1141"/>
                      <a:pt x="1417" y="1125"/>
                      <a:pt x="1575" y="1127"/>
                    </a:cubicBezTo>
                    <a:cubicBezTo>
                      <a:pt x="1738" y="1128"/>
                      <a:pt x="1905" y="1115"/>
                      <a:pt x="2067" y="1124"/>
                    </a:cubicBezTo>
                    <a:cubicBezTo>
                      <a:pt x="2859" y="1166"/>
                      <a:pt x="3504" y="1593"/>
                      <a:pt x="3648" y="2173"/>
                    </a:cubicBezTo>
                    <a:cubicBezTo>
                      <a:pt x="3654" y="2198"/>
                      <a:pt x="3660" y="2228"/>
                      <a:pt x="3666" y="2260"/>
                    </a:cubicBez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74"/>
              <p:cNvSpPr>
                <a:spLocks/>
              </p:cNvSpPr>
              <p:nvPr/>
            </p:nvSpPr>
            <p:spPr bwMode="auto">
              <a:xfrm>
                <a:off x="-322072" y="1008495"/>
                <a:ext cx="7496581" cy="6566588"/>
              </a:xfrm>
              <a:custGeom>
                <a:avLst/>
                <a:gdLst>
                  <a:gd name="T0" fmla="*/ 3666 w 3704"/>
                  <a:gd name="T1" fmla="*/ 2260 h 3243"/>
                  <a:gd name="T2" fmla="*/ 3636 w 3704"/>
                  <a:gd name="T3" fmla="*/ 2489 h 3243"/>
                  <a:gd name="T4" fmla="*/ 3629 w 3704"/>
                  <a:gd name="T5" fmla="*/ 2552 h 3243"/>
                  <a:gd name="T6" fmla="*/ 3626 w 3704"/>
                  <a:gd name="T7" fmla="*/ 2635 h 3243"/>
                  <a:gd name="T8" fmla="*/ 3656 w 3704"/>
                  <a:gd name="T9" fmla="*/ 3017 h 3243"/>
                  <a:gd name="T10" fmla="*/ 3615 w 3704"/>
                  <a:gd name="T11" fmla="*/ 3010 h 3243"/>
                  <a:gd name="T12" fmla="*/ 3551 w 3704"/>
                  <a:gd name="T13" fmla="*/ 2984 h 3243"/>
                  <a:gd name="T14" fmla="*/ 3440 w 3704"/>
                  <a:gd name="T15" fmla="*/ 2989 h 3243"/>
                  <a:gd name="T16" fmla="*/ 3145 w 3704"/>
                  <a:gd name="T17" fmla="*/ 3106 h 3243"/>
                  <a:gd name="T18" fmla="*/ 3073 w 3704"/>
                  <a:gd name="T19" fmla="*/ 3085 h 3243"/>
                  <a:gd name="T20" fmla="*/ 2826 w 3704"/>
                  <a:gd name="T21" fmla="*/ 3050 h 3243"/>
                  <a:gd name="T22" fmla="*/ 2771 w 3704"/>
                  <a:gd name="T23" fmla="*/ 3073 h 3243"/>
                  <a:gd name="T24" fmla="*/ 2386 w 3704"/>
                  <a:gd name="T25" fmla="*/ 3139 h 3243"/>
                  <a:gd name="T26" fmla="*/ 2262 w 3704"/>
                  <a:gd name="T27" fmla="*/ 2953 h 3243"/>
                  <a:gd name="T28" fmla="*/ 1897 w 3704"/>
                  <a:gd name="T29" fmla="*/ 2971 h 3243"/>
                  <a:gd name="T30" fmla="*/ 1813 w 3704"/>
                  <a:gd name="T31" fmla="*/ 2969 h 3243"/>
                  <a:gd name="T32" fmla="*/ 1745 w 3704"/>
                  <a:gd name="T33" fmla="*/ 2908 h 3243"/>
                  <a:gd name="T34" fmla="*/ 2373 w 3704"/>
                  <a:gd name="T35" fmla="*/ 1862 h 3243"/>
                  <a:gd name="T36" fmla="*/ 1848 w 3704"/>
                  <a:gd name="T37" fmla="*/ 1544 h 3243"/>
                  <a:gd name="T38" fmla="*/ 1084 w 3704"/>
                  <a:gd name="T39" fmla="*/ 1488 h 3243"/>
                  <a:gd name="T40" fmla="*/ 287 w 3704"/>
                  <a:gd name="T41" fmla="*/ 1124 h 3243"/>
                  <a:gd name="T42" fmla="*/ 282 w 3704"/>
                  <a:gd name="T43" fmla="*/ 993 h 3243"/>
                  <a:gd name="T44" fmla="*/ 307 w 3704"/>
                  <a:gd name="T45" fmla="*/ 922 h 3243"/>
                  <a:gd name="T46" fmla="*/ 352 w 3704"/>
                  <a:gd name="T47" fmla="*/ 861 h 3243"/>
                  <a:gd name="T48" fmla="*/ 1045 w 3704"/>
                  <a:gd name="T49" fmla="*/ 554 h 3243"/>
                  <a:gd name="T50" fmla="*/ 1133 w 3704"/>
                  <a:gd name="T51" fmla="*/ 522 h 3243"/>
                  <a:gd name="T52" fmla="*/ 1252 w 3704"/>
                  <a:gd name="T53" fmla="*/ 397 h 3243"/>
                  <a:gd name="T54" fmla="*/ 915 w 3704"/>
                  <a:gd name="T55" fmla="*/ 259 h 3243"/>
                  <a:gd name="T56" fmla="*/ 851 w 3704"/>
                  <a:gd name="T57" fmla="*/ 254 h 3243"/>
                  <a:gd name="T58" fmla="*/ 525 w 3704"/>
                  <a:gd name="T59" fmla="*/ 232 h 3243"/>
                  <a:gd name="T60" fmla="*/ 455 w 3704"/>
                  <a:gd name="T61" fmla="*/ 228 h 3243"/>
                  <a:gd name="T62" fmla="*/ 173 w 3704"/>
                  <a:gd name="T63" fmla="*/ 205 h 3243"/>
                  <a:gd name="T64" fmla="*/ 94 w 3704"/>
                  <a:gd name="T65" fmla="*/ 203 h 3243"/>
                  <a:gd name="T66" fmla="*/ 49 w 3704"/>
                  <a:gd name="T67" fmla="*/ 93 h 3243"/>
                  <a:gd name="T68" fmla="*/ 0 w 3704"/>
                  <a:gd name="T69" fmla="*/ 5 h 3243"/>
                  <a:gd name="T70" fmla="*/ 216 w 3704"/>
                  <a:gd name="T71" fmla="*/ 2 h 3243"/>
                  <a:gd name="T72" fmla="*/ 832 w 3704"/>
                  <a:gd name="T73" fmla="*/ 46 h 3243"/>
                  <a:gd name="T74" fmla="*/ 1346 w 3704"/>
                  <a:gd name="T75" fmla="*/ 132 h 3243"/>
                  <a:gd name="T76" fmla="*/ 1729 w 3704"/>
                  <a:gd name="T77" fmla="*/ 323 h 3243"/>
                  <a:gd name="T78" fmla="*/ 1756 w 3704"/>
                  <a:gd name="T79" fmla="*/ 519 h 3243"/>
                  <a:gd name="T80" fmla="*/ 1386 w 3704"/>
                  <a:gd name="T81" fmla="*/ 748 h 3243"/>
                  <a:gd name="T82" fmla="*/ 1068 w 3704"/>
                  <a:gd name="T83" fmla="*/ 840 h 3243"/>
                  <a:gd name="T84" fmla="*/ 1000 w 3704"/>
                  <a:gd name="T85" fmla="*/ 875 h 3243"/>
                  <a:gd name="T86" fmla="*/ 957 w 3704"/>
                  <a:gd name="T87" fmla="*/ 916 h 3243"/>
                  <a:gd name="T88" fmla="*/ 944 w 3704"/>
                  <a:gd name="T89" fmla="*/ 986 h 3243"/>
                  <a:gd name="T90" fmla="*/ 982 w 3704"/>
                  <a:gd name="T91" fmla="*/ 1048 h 3243"/>
                  <a:gd name="T92" fmla="*/ 1575 w 3704"/>
                  <a:gd name="T93" fmla="*/ 1127 h 3243"/>
                  <a:gd name="T94" fmla="*/ 2067 w 3704"/>
                  <a:gd name="T95" fmla="*/ 1124 h 3243"/>
                  <a:gd name="T96" fmla="*/ 3648 w 3704"/>
                  <a:gd name="T97" fmla="*/ 2173 h 3243"/>
                  <a:gd name="T98" fmla="*/ 3666 w 3704"/>
                  <a:gd name="T99"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04" h="3243">
                    <a:moveTo>
                      <a:pt x="3666" y="2260"/>
                    </a:moveTo>
                    <a:cubicBezTo>
                      <a:pt x="3666" y="2260"/>
                      <a:pt x="3652" y="2368"/>
                      <a:pt x="3636" y="2489"/>
                    </a:cubicBezTo>
                    <a:cubicBezTo>
                      <a:pt x="3633" y="2511"/>
                      <a:pt x="3631" y="2531"/>
                      <a:pt x="3629" y="2552"/>
                    </a:cubicBezTo>
                    <a:cubicBezTo>
                      <a:pt x="3622" y="2579"/>
                      <a:pt x="3628" y="2609"/>
                      <a:pt x="3626" y="2635"/>
                    </a:cubicBezTo>
                    <a:cubicBezTo>
                      <a:pt x="3635" y="2766"/>
                      <a:pt x="3704" y="2899"/>
                      <a:pt x="3656" y="3017"/>
                    </a:cubicBezTo>
                    <a:cubicBezTo>
                      <a:pt x="3654" y="3022"/>
                      <a:pt x="3636" y="3018"/>
                      <a:pt x="3615" y="3010"/>
                    </a:cubicBezTo>
                    <a:cubicBezTo>
                      <a:pt x="3594" y="3002"/>
                      <a:pt x="3569" y="2991"/>
                      <a:pt x="3551" y="2984"/>
                    </a:cubicBezTo>
                    <a:cubicBezTo>
                      <a:pt x="3515" y="2970"/>
                      <a:pt x="3474" y="2977"/>
                      <a:pt x="3440" y="2989"/>
                    </a:cubicBezTo>
                    <a:cubicBezTo>
                      <a:pt x="3351" y="3023"/>
                      <a:pt x="3242" y="3109"/>
                      <a:pt x="3145" y="3106"/>
                    </a:cubicBezTo>
                    <a:cubicBezTo>
                      <a:pt x="3121" y="3105"/>
                      <a:pt x="3097" y="3099"/>
                      <a:pt x="3073" y="3085"/>
                    </a:cubicBezTo>
                    <a:cubicBezTo>
                      <a:pt x="2999" y="3033"/>
                      <a:pt x="2910" y="3021"/>
                      <a:pt x="2826" y="3050"/>
                    </a:cubicBezTo>
                    <a:cubicBezTo>
                      <a:pt x="2808" y="3056"/>
                      <a:pt x="2790" y="3064"/>
                      <a:pt x="2771" y="3073"/>
                    </a:cubicBezTo>
                    <a:cubicBezTo>
                      <a:pt x="2661" y="3128"/>
                      <a:pt x="2507" y="3243"/>
                      <a:pt x="2386" y="3139"/>
                    </a:cubicBezTo>
                    <a:cubicBezTo>
                      <a:pt x="2324" y="3089"/>
                      <a:pt x="2321" y="3003"/>
                      <a:pt x="2262" y="2953"/>
                    </a:cubicBezTo>
                    <a:cubicBezTo>
                      <a:pt x="2153" y="2864"/>
                      <a:pt x="2013" y="2937"/>
                      <a:pt x="1897" y="2971"/>
                    </a:cubicBezTo>
                    <a:cubicBezTo>
                      <a:pt x="1868" y="2974"/>
                      <a:pt x="1839" y="2973"/>
                      <a:pt x="1813" y="2969"/>
                    </a:cubicBezTo>
                    <a:cubicBezTo>
                      <a:pt x="1762" y="2961"/>
                      <a:pt x="1726" y="2939"/>
                      <a:pt x="1745" y="2908"/>
                    </a:cubicBezTo>
                    <a:cubicBezTo>
                      <a:pt x="1825" y="2769"/>
                      <a:pt x="2556" y="2260"/>
                      <a:pt x="2373" y="1862"/>
                    </a:cubicBezTo>
                    <a:cubicBezTo>
                      <a:pt x="2279" y="1657"/>
                      <a:pt x="2119" y="1575"/>
                      <a:pt x="1848" y="1544"/>
                    </a:cubicBezTo>
                    <a:cubicBezTo>
                      <a:pt x="1596" y="1514"/>
                      <a:pt x="1336" y="1519"/>
                      <a:pt x="1084" y="1488"/>
                    </a:cubicBezTo>
                    <a:cubicBezTo>
                      <a:pt x="795" y="1452"/>
                      <a:pt x="366" y="1377"/>
                      <a:pt x="287" y="1124"/>
                    </a:cubicBezTo>
                    <a:cubicBezTo>
                      <a:pt x="273" y="1078"/>
                      <a:pt x="272" y="1034"/>
                      <a:pt x="282" y="993"/>
                    </a:cubicBezTo>
                    <a:cubicBezTo>
                      <a:pt x="288" y="968"/>
                      <a:pt x="296" y="945"/>
                      <a:pt x="307" y="922"/>
                    </a:cubicBezTo>
                    <a:cubicBezTo>
                      <a:pt x="321" y="900"/>
                      <a:pt x="336" y="880"/>
                      <a:pt x="352" y="861"/>
                    </a:cubicBezTo>
                    <a:cubicBezTo>
                      <a:pt x="528" y="657"/>
                      <a:pt x="804" y="629"/>
                      <a:pt x="1045" y="554"/>
                    </a:cubicBezTo>
                    <a:cubicBezTo>
                      <a:pt x="1076" y="544"/>
                      <a:pt x="1106" y="534"/>
                      <a:pt x="1133" y="522"/>
                    </a:cubicBezTo>
                    <a:cubicBezTo>
                      <a:pt x="1215" y="487"/>
                      <a:pt x="1270" y="445"/>
                      <a:pt x="1252" y="397"/>
                    </a:cubicBezTo>
                    <a:cubicBezTo>
                      <a:pt x="1213" y="291"/>
                      <a:pt x="1035" y="269"/>
                      <a:pt x="915" y="259"/>
                    </a:cubicBezTo>
                    <a:cubicBezTo>
                      <a:pt x="891" y="257"/>
                      <a:pt x="869" y="255"/>
                      <a:pt x="851" y="254"/>
                    </a:cubicBezTo>
                    <a:cubicBezTo>
                      <a:pt x="744" y="249"/>
                      <a:pt x="632" y="237"/>
                      <a:pt x="525" y="232"/>
                    </a:cubicBezTo>
                    <a:cubicBezTo>
                      <a:pt x="502" y="231"/>
                      <a:pt x="478" y="230"/>
                      <a:pt x="455" y="228"/>
                    </a:cubicBezTo>
                    <a:cubicBezTo>
                      <a:pt x="360" y="222"/>
                      <a:pt x="266" y="215"/>
                      <a:pt x="173" y="205"/>
                    </a:cubicBezTo>
                    <a:cubicBezTo>
                      <a:pt x="148" y="202"/>
                      <a:pt x="118" y="193"/>
                      <a:pt x="94" y="203"/>
                    </a:cubicBezTo>
                    <a:cubicBezTo>
                      <a:pt x="86" y="167"/>
                      <a:pt x="73" y="122"/>
                      <a:pt x="49" y="93"/>
                    </a:cubicBezTo>
                    <a:cubicBezTo>
                      <a:pt x="26" y="65"/>
                      <a:pt x="9" y="42"/>
                      <a:pt x="0" y="5"/>
                    </a:cubicBezTo>
                    <a:cubicBezTo>
                      <a:pt x="71" y="0"/>
                      <a:pt x="144" y="0"/>
                      <a:pt x="216" y="2"/>
                    </a:cubicBezTo>
                    <a:cubicBezTo>
                      <a:pt x="422" y="7"/>
                      <a:pt x="627" y="24"/>
                      <a:pt x="832" y="46"/>
                    </a:cubicBezTo>
                    <a:cubicBezTo>
                      <a:pt x="1004" y="64"/>
                      <a:pt x="1177" y="88"/>
                      <a:pt x="1346" y="132"/>
                    </a:cubicBezTo>
                    <a:cubicBezTo>
                      <a:pt x="1477" y="166"/>
                      <a:pt x="1640" y="212"/>
                      <a:pt x="1729" y="323"/>
                    </a:cubicBezTo>
                    <a:cubicBezTo>
                      <a:pt x="1775" y="380"/>
                      <a:pt x="1783" y="451"/>
                      <a:pt x="1756" y="519"/>
                    </a:cubicBezTo>
                    <a:cubicBezTo>
                      <a:pt x="1706" y="648"/>
                      <a:pt x="1543" y="708"/>
                      <a:pt x="1386" y="748"/>
                    </a:cubicBezTo>
                    <a:cubicBezTo>
                      <a:pt x="1310" y="767"/>
                      <a:pt x="1170" y="796"/>
                      <a:pt x="1068" y="840"/>
                    </a:cubicBezTo>
                    <a:cubicBezTo>
                      <a:pt x="1042" y="851"/>
                      <a:pt x="1019" y="863"/>
                      <a:pt x="1000" y="875"/>
                    </a:cubicBezTo>
                    <a:cubicBezTo>
                      <a:pt x="981" y="888"/>
                      <a:pt x="966" y="902"/>
                      <a:pt x="957" y="916"/>
                    </a:cubicBezTo>
                    <a:cubicBezTo>
                      <a:pt x="943" y="938"/>
                      <a:pt x="939" y="962"/>
                      <a:pt x="944" y="986"/>
                    </a:cubicBezTo>
                    <a:cubicBezTo>
                      <a:pt x="948" y="1009"/>
                      <a:pt x="961" y="1031"/>
                      <a:pt x="982" y="1048"/>
                    </a:cubicBezTo>
                    <a:cubicBezTo>
                      <a:pt x="1094" y="1142"/>
                      <a:pt x="1417" y="1125"/>
                      <a:pt x="1575" y="1127"/>
                    </a:cubicBezTo>
                    <a:cubicBezTo>
                      <a:pt x="1738" y="1129"/>
                      <a:pt x="1905" y="1115"/>
                      <a:pt x="2067" y="1124"/>
                    </a:cubicBezTo>
                    <a:cubicBezTo>
                      <a:pt x="2859" y="1167"/>
                      <a:pt x="3504" y="1594"/>
                      <a:pt x="3648" y="2173"/>
                    </a:cubicBezTo>
                    <a:cubicBezTo>
                      <a:pt x="3654" y="2199"/>
                      <a:pt x="3660" y="2228"/>
                      <a:pt x="3666" y="2260"/>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179"/>
            <p:cNvSpPr>
              <a:spLocks noEditPoints="1"/>
            </p:cNvSpPr>
            <p:nvPr/>
          </p:nvSpPr>
          <p:spPr bwMode="auto">
            <a:xfrm>
              <a:off x="-1511557" y="1210597"/>
              <a:ext cx="7453763" cy="6009952"/>
            </a:xfrm>
            <a:custGeom>
              <a:avLst/>
              <a:gdLst>
                <a:gd name="T0" fmla="*/ 1157 w 3683"/>
                <a:gd name="T1" fmla="*/ 18 h 2968"/>
                <a:gd name="T2" fmla="*/ 963 w 3683"/>
                <a:gd name="T3" fmla="*/ 19 h 2968"/>
                <a:gd name="T4" fmla="*/ 1009 w 3683"/>
                <a:gd name="T5" fmla="*/ 26 h 2968"/>
                <a:gd name="T6" fmla="*/ 1011 w 3683"/>
                <a:gd name="T7" fmla="*/ 13 h 2968"/>
                <a:gd name="T8" fmla="*/ 1250 w 3683"/>
                <a:gd name="T9" fmla="*/ 836 h 2968"/>
                <a:gd name="T10" fmla="*/ 1228 w 3683"/>
                <a:gd name="T11" fmla="*/ 966 h 2968"/>
                <a:gd name="T12" fmla="*/ 1244 w 3683"/>
                <a:gd name="T13" fmla="*/ 960 h 2968"/>
                <a:gd name="T14" fmla="*/ 1401 w 3683"/>
                <a:gd name="T15" fmla="*/ 1119 h 2968"/>
                <a:gd name="T16" fmla="*/ 1528 w 3683"/>
                <a:gd name="T17" fmla="*/ 1150 h 2968"/>
                <a:gd name="T18" fmla="*/ 1519 w 3683"/>
                <a:gd name="T19" fmla="*/ 55 h 2968"/>
                <a:gd name="T20" fmla="*/ 1449 w 3683"/>
                <a:gd name="T21" fmla="*/ 669 h 2968"/>
                <a:gd name="T22" fmla="*/ 1285 w 3683"/>
                <a:gd name="T23" fmla="*/ 770 h 2968"/>
                <a:gd name="T24" fmla="*/ 1455 w 3683"/>
                <a:gd name="T25" fmla="*/ 674 h 2968"/>
                <a:gd name="T26" fmla="*/ 1709 w 3683"/>
                <a:gd name="T27" fmla="*/ 80 h 2968"/>
                <a:gd name="T28" fmla="*/ 3599 w 3683"/>
                <a:gd name="T29" fmla="*/ 1859 h 2968"/>
                <a:gd name="T30" fmla="*/ 3647 w 3683"/>
                <a:gd name="T31" fmla="*/ 1912 h 2968"/>
                <a:gd name="T32" fmla="*/ 3615 w 3683"/>
                <a:gd name="T33" fmla="*/ 1813 h 2968"/>
                <a:gd name="T34" fmla="*/ 3548 w 3683"/>
                <a:gd name="T35" fmla="*/ 1742 h 2968"/>
                <a:gd name="T36" fmla="*/ 48 w 3683"/>
                <a:gd name="T37" fmla="*/ 73 h 2968"/>
                <a:gd name="T38" fmla="*/ 1311 w 3683"/>
                <a:gd name="T39" fmla="*/ 27 h 2968"/>
                <a:gd name="T40" fmla="*/ 673 w 3683"/>
                <a:gd name="T41" fmla="*/ 6 h 2968"/>
                <a:gd name="T42" fmla="*/ 537 w 3683"/>
                <a:gd name="T43" fmla="*/ 1 h 2968"/>
                <a:gd name="T44" fmla="*/ 798 w 3683"/>
                <a:gd name="T45" fmla="*/ 20 h 2968"/>
                <a:gd name="T46" fmla="*/ 298 w 3683"/>
                <a:gd name="T47" fmla="*/ 27 h 2968"/>
                <a:gd name="T48" fmla="*/ 502 w 3683"/>
                <a:gd name="T49" fmla="*/ 17 h 2968"/>
                <a:gd name="T50" fmla="*/ 3272 w 3683"/>
                <a:gd name="T51" fmla="*/ 1450 h 2968"/>
                <a:gd name="T52" fmla="*/ 3338 w 3683"/>
                <a:gd name="T53" fmla="*/ 1521 h 2968"/>
                <a:gd name="T54" fmla="*/ 3430 w 3683"/>
                <a:gd name="T55" fmla="*/ 1554 h 2968"/>
                <a:gd name="T56" fmla="*/ 3374 w 3683"/>
                <a:gd name="T57" fmla="*/ 2968 h 2968"/>
                <a:gd name="T58" fmla="*/ 3397 w 3683"/>
                <a:gd name="T59" fmla="*/ 2879 h 2968"/>
                <a:gd name="T60" fmla="*/ 2880 w 3683"/>
                <a:gd name="T61" fmla="*/ 1304 h 2968"/>
                <a:gd name="T62" fmla="*/ 2970 w 3683"/>
                <a:gd name="T63" fmla="*/ 1358 h 2968"/>
                <a:gd name="T64" fmla="*/ 2978 w 3683"/>
                <a:gd name="T65" fmla="*/ 1333 h 2968"/>
                <a:gd name="T66" fmla="*/ 2506 w 3683"/>
                <a:gd name="T67" fmla="*/ 1258 h 2968"/>
                <a:gd name="T68" fmla="*/ 2648 w 3683"/>
                <a:gd name="T69" fmla="*/ 1254 h 2968"/>
                <a:gd name="T70" fmla="*/ 3528 w 3683"/>
                <a:gd name="T71" fmla="*/ 2668 h 2968"/>
                <a:gd name="T72" fmla="*/ 3615 w 3683"/>
                <a:gd name="T73" fmla="*/ 2554 h 2968"/>
                <a:gd name="T74" fmla="*/ 3682 w 3683"/>
                <a:gd name="T75" fmla="*/ 2148 h 2968"/>
                <a:gd name="T76" fmla="*/ 3650 w 3683"/>
                <a:gd name="T77" fmla="*/ 2149 h 2968"/>
                <a:gd name="T78" fmla="*/ 3674 w 3683"/>
                <a:gd name="T79" fmla="*/ 2322 h 2968"/>
                <a:gd name="T80" fmla="*/ 2076 w 3683"/>
                <a:gd name="T81" fmla="*/ 230 h 2968"/>
                <a:gd name="T82" fmla="*/ 1946 w 3683"/>
                <a:gd name="T83" fmla="*/ 144 h 2968"/>
                <a:gd name="T84" fmla="*/ 1816 w 3683"/>
                <a:gd name="T85" fmla="*/ 532 h 2968"/>
                <a:gd name="T86" fmla="*/ 1969 w 3683"/>
                <a:gd name="T87" fmla="*/ 480 h 2968"/>
                <a:gd name="T88" fmla="*/ 1695 w 3683"/>
                <a:gd name="T89" fmla="*/ 1175 h 2968"/>
                <a:gd name="T90" fmla="*/ 1834 w 3683"/>
                <a:gd name="T91" fmla="*/ 1203 h 2968"/>
                <a:gd name="T92" fmla="*/ 1835 w 3683"/>
                <a:gd name="T93" fmla="*/ 1182 h 2968"/>
                <a:gd name="T94" fmla="*/ 2069 w 3683"/>
                <a:gd name="T95" fmla="*/ 1220 h 2968"/>
                <a:gd name="T96" fmla="*/ 2098 w 3683"/>
                <a:gd name="T97" fmla="*/ 316 h 2968"/>
                <a:gd name="T98" fmla="*/ 2030 w 3683"/>
                <a:gd name="T99" fmla="*/ 439 h 2968"/>
                <a:gd name="T100" fmla="*/ 1725 w 3683"/>
                <a:gd name="T101" fmla="*/ 564 h 2968"/>
                <a:gd name="T102" fmla="*/ 1733 w 3683"/>
                <a:gd name="T103" fmla="*/ 579 h 2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83" h="2968">
                  <a:moveTo>
                    <a:pt x="1265" y="38"/>
                  </a:moveTo>
                  <a:cubicBezTo>
                    <a:pt x="1228" y="36"/>
                    <a:pt x="1192" y="33"/>
                    <a:pt x="1157" y="30"/>
                  </a:cubicBezTo>
                  <a:cubicBezTo>
                    <a:pt x="1156" y="30"/>
                    <a:pt x="1155" y="30"/>
                    <a:pt x="1154" y="30"/>
                  </a:cubicBezTo>
                  <a:cubicBezTo>
                    <a:pt x="1154" y="26"/>
                    <a:pt x="1155" y="22"/>
                    <a:pt x="1155" y="18"/>
                  </a:cubicBezTo>
                  <a:cubicBezTo>
                    <a:pt x="1156" y="18"/>
                    <a:pt x="1157" y="18"/>
                    <a:pt x="1157" y="18"/>
                  </a:cubicBezTo>
                  <a:cubicBezTo>
                    <a:pt x="1192" y="20"/>
                    <a:pt x="1228" y="23"/>
                    <a:pt x="1265" y="25"/>
                  </a:cubicBezTo>
                  <a:cubicBezTo>
                    <a:pt x="1265" y="29"/>
                    <a:pt x="1265" y="33"/>
                    <a:pt x="1265" y="38"/>
                  </a:cubicBezTo>
                  <a:close/>
                  <a:moveTo>
                    <a:pt x="870" y="22"/>
                  </a:moveTo>
                  <a:cubicBezTo>
                    <a:pt x="891" y="22"/>
                    <a:pt x="913" y="23"/>
                    <a:pt x="935" y="24"/>
                  </a:cubicBezTo>
                  <a:cubicBezTo>
                    <a:pt x="942" y="16"/>
                    <a:pt x="954" y="14"/>
                    <a:pt x="963" y="19"/>
                  </a:cubicBezTo>
                  <a:cubicBezTo>
                    <a:pt x="963" y="17"/>
                    <a:pt x="964" y="15"/>
                    <a:pt x="964" y="12"/>
                  </a:cubicBezTo>
                  <a:cubicBezTo>
                    <a:pt x="931" y="12"/>
                    <a:pt x="899" y="11"/>
                    <a:pt x="869" y="10"/>
                  </a:cubicBezTo>
                  <a:cubicBezTo>
                    <a:pt x="869" y="14"/>
                    <a:pt x="869" y="18"/>
                    <a:pt x="870" y="22"/>
                  </a:cubicBezTo>
                  <a:close/>
                  <a:moveTo>
                    <a:pt x="1011" y="13"/>
                  </a:moveTo>
                  <a:cubicBezTo>
                    <a:pt x="1010" y="17"/>
                    <a:pt x="1009" y="21"/>
                    <a:pt x="1009" y="26"/>
                  </a:cubicBezTo>
                  <a:cubicBezTo>
                    <a:pt x="1019" y="26"/>
                    <a:pt x="1029" y="26"/>
                    <a:pt x="1039" y="26"/>
                  </a:cubicBezTo>
                  <a:cubicBezTo>
                    <a:pt x="1061" y="27"/>
                    <a:pt x="1085" y="28"/>
                    <a:pt x="1108" y="28"/>
                  </a:cubicBezTo>
                  <a:cubicBezTo>
                    <a:pt x="1109" y="24"/>
                    <a:pt x="1109" y="20"/>
                    <a:pt x="1110" y="16"/>
                  </a:cubicBezTo>
                  <a:cubicBezTo>
                    <a:pt x="1086" y="15"/>
                    <a:pt x="1062" y="15"/>
                    <a:pt x="1039" y="14"/>
                  </a:cubicBezTo>
                  <a:cubicBezTo>
                    <a:pt x="1030" y="14"/>
                    <a:pt x="1020" y="14"/>
                    <a:pt x="1011" y="13"/>
                  </a:cubicBezTo>
                  <a:close/>
                  <a:moveTo>
                    <a:pt x="1244" y="960"/>
                  </a:moveTo>
                  <a:cubicBezTo>
                    <a:pt x="1243" y="956"/>
                    <a:pt x="1242" y="953"/>
                    <a:pt x="1241" y="949"/>
                  </a:cubicBezTo>
                  <a:cubicBezTo>
                    <a:pt x="1240" y="945"/>
                    <a:pt x="1239" y="941"/>
                    <a:pt x="1238" y="937"/>
                  </a:cubicBezTo>
                  <a:cubicBezTo>
                    <a:pt x="1235" y="920"/>
                    <a:pt x="1234" y="903"/>
                    <a:pt x="1236" y="886"/>
                  </a:cubicBezTo>
                  <a:cubicBezTo>
                    <a:pt x="1237" y="869"/>
                    <a:pt x="1242" y="852"/>
                    <a:pt x="1250" y="836"/>
                  </a:cubicBezTo>
                  <a:cubicBezTo>
                    <a:pt x="1232" y="836"/>
                    <a:pt x="1232" y="836"/>
                    <a:pt x="1232" y="836"/>
                  </a:cubicBezTo>
                  <a:cubicBezTo>
                    <a:pt x="1225" y="852"/>
                    <a:pt x="1221" y="868"/>
                    <a:pt x="1219" y="885"/>
                  </a:cubicBezTo>
                  <a:cubicBezTo>
                    <a:pt x="1217" y="904"/>
                    <a:pt x="1218" y="922"/>
                    <a:pt x="1221" y="940"/>
                  </a:cubicBezTo>
                  <a:cubicBezTo>
                    <a:pt x="1222" y="944"/>
                    <a:pt x="1223" y="949"/>
                    <a:pt x="1224" y="953"/>
                  </a:cubicBezTo>
                  <a:cubicBezTo>
                    <a:pt x="1226" y="957"/>
                    <a:pt x="1227" y="962"/>
                    <a:pt x="1228" y="966"/>
                  </a:cubicBezTo>
                  <a:cubicBezTo>
                    <a:pt x="1231" y="974"/>
                    <a:pt x="1234" y="982"/>
                    <a:pt x="1238" y="990"/>
                  </a:cubicBezTo>
                  <a:cubicBezTo>
                    <a:pt x="1244" y="1002"/>
                    <a:pt x="1251" y="1013"/>
                    <a:pt x="1259" y="1023"/>
                  </a:cubicBezTo>
                  <a:cubicBezTo>
                    <a:pt x="1264" y="1020"/>
                    <a:pt x="1269" y="1017"/>
                    <a:pt x="1274" y="1014"/>
                  </a:cubicBezTo>
                  <a:cubicBezTo>
                    <a:pt x="1266" y="1005"/>
                    <a:pt x="1259" y="994"/>
                    <a:pt x="1253" y="982"/>
                  </a:cubicBezTo>
                  <a:cubicBezTo>
                    <a:pt x="1249" y="975"/>
                    <a:pt x="1247" y="968"/>
                    <a:pt x="1244" y="960"/>
                  </a:cubicBezTo>
                  <a:close/>
                  <a:moveTo>
                    <a:pt x="1503" y="1141"/>
                  </a:moveTo>
                  <a:cubicBezTo>
                    <a:pt x="1481" y="1132"/>
                    <a:pt x="1448" y="1121"/>
                    <a:pt x="1408" y="1104"/>
                  </a:cubicBezTo>
                  <a:cubicBezTo>
                    <a:pt x="1390" y="1096"/>
                    <a:pt x="1370" y="1087"/>
                    <a:pt x="1349" y="1075"/>
                  </a:cubicBezTo>
                  <a:cubicBezTo>
                    <a:pt x="1346" y="1079"/>
                    <a:pt x="1343" y="1084"/>
                    <a:pt x="1340" y="1088"/>
                  </a:cubicBezTo>
                  <a:cubicBezTo>
                    <a:pt x="1361" y="1101"/>
                    <a:pt x="1382" y="1110"/>
                    <a:pt x="1401" y="1119"/>
                  </a:cubicBezTo>
                  <a:cubicBezTo>
                    <a:pt x="1442" y="1136"/>
                    <a:pt x="1475" y="1147"/>
                    <a:pt x="1497" y="1156"/>
                  </a:cubicBezTo>
                  <a:cubicBezTo>
                    <a:pt x="1509" y="1160"/>
                    <a:pt x="1517" y="1163"/>
                    <a:pt x="1523" y="1165"/>
                  </a:cubicBezTo>
                  <a:cubicBezTo>
                    <a:pt x="1528" y="1167"/>
                    <a:pt x="1531" y="1168"/>
                    <a:pt x="1531" y="1168"/>
                  </a:cubicBezTo>
                  <a:cubicBezTo>
                    <a:pt x="1537" y="1154"/>
                    <a:pt x="1537" y="1154"/>
                    <a:pt x="1537" y="1154"/>
                  </a:cubicBezTo>
                  <a:cubicBezTo>
                    <a:pt x="1537" y="1154"/>
                    <a:pt x="1534" y="1152"/>
                    <a:pt x="1528" y="1150"/>
                  </a:cubicBezTo>
                  <a:cubicBezTo>
                    <a:pt x="1523" y="1148"/>
                    <a:pt x="1514" y="1145"/>
                    <a:pt x="1503" y="1141"/>
                  </a:cubicBezTo>
                  <a:close/>
                  <a:moveTo>
                    <a:pt x="1666" y="58"/>
                  </a:moveTo>
                  <a:cubicBezTo>
                    <a:pt x="1629" y="53"/>
                    <a:pt x="1592" y="48"/>
                    <a:pt x="1556" y="44"/>
                  </a:cubicBezTo>
                  <a:cubicBezTo>
                    <a:pt x="1544" y="43"/>
                    <a:pt x="1531" y="42"/>
                    <a:pt x="1519" y="41"/>
                  </a:cubicBezTo>
                  <a:cubicBezTo>
                    <a:pt x="1519" y="46"/>
                    <a:pt x="1519" y="50"/>
                    <a:pt x="1519" y="55"/>
                  </a:cubicBezTo>
                  <a:cubicBezTo>
                    <a:pt x="1531" y="56"/>
                    <a:pt x="1543" y="57"/>
                    <a:pt x="1554" y="58"/>
                  </a:cubicBezTo>
                  <a:cubicBezTo>
                    <a:pt x="1591" y="62"/>
                    <a:pt x="1627" y="67"/>
                    <a:pt x="1664" y="72"/>
                  </a:cubicBezTo>
                  <a:cubicBezTo>
                    <a:pt x="1665" y="68"/>
                    <a:pt x="1666" y="63"/>
                    <a:pt x="1666" y="58"/>
                  </a:cubicBezTo>
                  <a:close/>
                  <a:moveTo>
                    <a:pt x="1455" y="674"/>
                  </a:moveTo>
                  <a:cubicBezTo>
                    <a:pt x="1452" y="671"/>
                    <a:pt x="1454" y="672"/>
                    <a:pt x="1449" y="669"/>
                  </a:cubicBezTo>
                  <a:cubicBezTo>
                    <a:pt x="1445" y="667"/>
                    <a:pt x="1441" y="665"/>
                    <a:pt x="1437" y="663"/>
                  </a:cubicBezTo>
                  <a:cubicBezTo>
                    <a:pt x="1432" y="666"/>
                    <a:pt x="1427" y="668"/>
                    <a:pt x="1422" y="670"/>
                  </a:cubicBezTo>
                  <a:cubicBezTo>
                    <a:pt x="1383" y="689"/>
                    <a:pt x="1345" y="710"/>
                    <a:pt x="1313" y="736"/>
                  </a:cubicBezTo>
                  <a:cubicBezTo>
                    <a:pt x="1300" y="747"/>
                    <a:pt x="1288" y="757"/>
                    <a:pt x="1276" y="769"/>
                  </a:cubicBezTo>
                  <a:cubicBezTo>
                    <a:pt x="1279" y="769"/>
                    <a:pt x="1282" y="770"/>
                    <a:pt x="1285" y="770"/>
                  </a:cubicBezTo>
                  <a:cubicBezTo>
                    <a:pt x="1289" y="769"/>
                    <a:pt x="1293" y="768"/>
                    <a:pt x="1298" y="767"/>
                  </a:cubicBezTo>
                  <a:cubicBezTo>
                    <a:pt x="1300" y="766"/>
                    <a:pt x="1302" y="766"/>
                    <a:pt x="1304" y="766"/>
                  </a:cubicBezTo>
                  <a:cubicBezTo>
                    <a:pt x="1310" y="760"/>
                    <a:pt x="1317" y="755"/>
                    <a:pt x="1323" y="750"/>
                  </a:cubicBezTo>
                  <a:cubicBezTo>
                    <a:pt x="1355" y="725"/>
                    <a:pt x="1391" y="704"/>
                    <a:pt x="1430" y="686"/>
                  </a:cubicBezTo>
                  <a:cubicBezTo>
                    <a:pt x="1438" y="682"/>
                    <a:pt x="1447" y="678"/>
                    <a:pt x="1455" y="674"/>
                  </a:cubicBezTo>
                  <a:close/>
                  <a:moveTo>
                    <a:pt x="1879" y="120"/>
                  </a:moveTo>
                  <a:cubicBezTo>
                    <a:pt x="1880" y="115"/>
                    <a:pt x="1881" y="110"/>
                    <a:pt x="1883" y="105"/>
                  </a:cubicBezTo>
                  <a:cubicBezTo>
                    <a:pt x="1870" y="101"/>
                    <a:pt x="1857" y="97"/>
                    <a:pt x="1844" y="94"/>
                  </a:cubicBezTo>
                  <a:cubicBezTo>
                    <a:pt x="1800" y="82"/>
                    <a:pt x="1756" y="73"/>
                    <a:pt x="1712" y="65"/>
                  </a:cubicBezTo>
                  <a:cubicBezTo>
                    <a:pt x="1711" y="70"/>
                    <a:pt x="1710" y="75"/>
                    <a:pt x="1709" y="80"/>
                  </a:cubicBezTo>
                  <a:cubicBezTo>
                    <a:pt x="1753" y="88"/>
                    <a:pt x="1797" y="97"/>
                    <a:pt x="1840" y="109"/>
                  </a:cubicBezTo>
                  <a:cubicBezTo>
                    <a:pt x="1853" y="112"/>
                    <a:pt x="1866" y="116"/>
                    <a:pt x="1879" y="120"/>
                  </a:cubicBezTo>
                  <a:close/>
                  <a:moveTo>
                    <a:pt x="3559" y="1762"/>
                  </a:moveTo>
                  <a:cubicBezTo>
                    <a:pt x="3567" y="1778"/>
                    <a:pt x="3578" y="1801"/>
                    <a:pt x="3587" y="1824"/>
                  </a:cubicBezTo>
                  <a:cubicBezTo>
                    <a:pt x="3591" y="1836"/>
                    <a:pt x="3595" y="1848"/>
                    <a:pt x="3599" y="1859"/>
                  </a:cubicBezTo>
                  <a:cubicBezTo>
                    <a:pt x="3600" y="1861"/>
                    <a:pt x="3601" y="1864"/>
                    <a:pt x="3602" y="1867"/>
                  </a:cubicBezTo>
                  <a:cubicBezTo>
                    <a:pt x="3602" y="1869"/>
                    <a:pt x="3603" y="1872"/>
                    <a:pt x="3604" y="1875"/>
                  </a:cubicBezTo>
                  <a:cubicBezTo>
                    <a:pt x="3605" y="1880"/>
                    <a:pt x="3607" y="1885"/>
                    <a:pt x="3608" y="1889"/>
                  </a:cubicBezTo>
                  <a:cubicBezTo>
                    <a:pt x="3613" y="1908"/>
                    <a:pt x="3617" y="1920"/>
                    <a:pt x="3617" y="1920"/>
                  </a:cubicBezTo>
                  <a:cubicBezTo>
                    <a:pt x="3647" y="1912"/>
                    <a:pt x="3647" y="1912"/>
                    <a:pt x="3647" y="1912"/>
                  </a:cubicBezTo>
                  <a:cubicBezTo>
                    <a:pt x="3647" y="1912"/>
                    <a:pt x="3643" y="1899"/>
                    <a:pt x="3638" y="1881"/>
                  </a:cubicBezTo>
                  <a:cubicBezTo>
                    <a:pt x="3636" y="1876"/>
                    <a:pt x="3635" y="1871"/>
                    <a:pt x="3633" y="1866"/>
                  </a:cubicBezTo>
                  <a:cubicBezTo>
                    <a:pt x="3633" y="1864"/>
                    <a:pt x="3632" y="1861"/>
                    <a:pt x="3631" y="1858"/>
                  </a:cubicBezTo>
                  <a:cubicBezTo>
                    <a:pt x="3630" y="1855"/>
                    <a:pt x="3629" y="1852"/>
                    <a:pt x="3628" y="1849"/>
                  </a:cubicBezTo>
                  <a:cubicBezTo>
                    <a:pt x="3624" y="1838"/>
                    <a:pt x="3620" y="1825"/>
                    <a:pt x="3615" y="1813"/>
                  </a:cubicBezTo>
                  <a:cubicBezTo>
                    <a:pt x="3606" y="1789"/>
                    <a:pt x="3595" y="1765"/>
                    <a:pt x="3586" y="1748"/>
                  </a:cubicBezTo>
                  <a:cubicBezTo>
                    <a:pt x="3581" y="1739"/>
                    <a:pt x="3577" y="1732"/>
                    <a:pt x="3574" y="1727"/>
                  </a:cubicBezTo>
                  <a:cubicBezTo>
                    <a:pt x="3571" y="1722"/>
                    <a:pt x="3570" y="1719"/>
                    <a:pt x="3570" y="1719"/>
                  </a:cubicBezTo>
                  <a:cubicBezTo>
                    <a:pt x="3544" y="1734"/>
                    <a:pt x="3544" y="1734"/>
                    <a:pt x="3544" y="1734"/>
                  </a:cubicBezTo>
                  <a:cubicBezTo>
                    <a:pt x="3544" y="1734"/>
                    <a:pt x="3545" y="1737"/>
                    <a:pt x="3548" y="1742"/>
                  </a:cubicBezTo>
                  <a:cubicBezTo>
                    <a:pt x="3551" y="1747"/>
                    <a:pt x="3555" y="1753"/>
                    <a:pt x="3559" y="1762"/>
                  </a:cubicBezTo>
                  <a:close/>
                  <a:moveTo>
                    <a:pt x="48" y="70"/>
                  </a:moveTo>
                  <a:cubicBezTo>
                    <a:pt x="24" y="76"/>
                    <a:pt x="0" y="84"/>
                    <a:pt x="0" y="84"/>
                  </a:cubicBezTo>
                  <a:cubicBezTo>
                    <a:pt x="0" y="86"/>
                    <a:pt x="0" y="86"/>
                    <a:pt x="0" y="86"/>
                  </a:cubicBezTo>
                  <a:cubicBezTo>
                    <a:pt x="0" y="86"/>
                    <a:pt x="24" y="79"/>
                    <a:pt x="48" y="73"/>
                  </a:cubicBezTo>
                  <a:cubicBezTo>
                    <a:pt x="73" y="66"/>
                    <a:pt x="97" y="61"/>
                    <a:pt x="97" y="61"/>
                  </a:cubicBezTo>
                  <a:cubicBezTo>
                    <a:pt x="96" y="58"/>
                    <a:pt x="96" y="58"/>
                    <a:pt x="96" y="58"/>
                  </a:cubicBezTo>
                  <a:cubicBezTo>
                    <a:pt x="96" y="58"/>
                    <a:pt x="72" y="63"/>
                    <a:pt x="48" y="70"/>
                  </a:cubicBezTo>
                  <a:close/>
                  <a:moveTo>
                    <a:pt x="1473" y="37"/>
                  </a:moveTo>
                  <a:cubicBezTo>
                    <a:pt x="1417" y="33"/>
                    <a:pt x="1363" y="30"/>
                    <a:pt x="1311" y="27"/>
                  </a:cubicBezTo>
                  <a:cubicBezTo>
                    <a:pt x="1311" y="32"/>
                    <a:pt x="1311" y="36"/>
                    <a:pt x="1311" y="40"/>
                  </a:cubicBezTo>
                  <a:cubicBezTo>
                    <a:pt x="1363" y="44"/>
                    <a:pt x="1417" y="47"/>
                    <a:pt x="1473" y="51"/>
                  </a:cubicBezTo>
                  <a:cubicBezTo>
                    <a:pt x="1473" y="46"/>
                    <a:pt x="1473" y="42"/>
                    <a:pt x="1473" y="37"/>
                  </a:cubicBezTo>
                  <a:close/>
                  <a:moveTo>
                    <a:pt x="747" y="8"/>
                  </a:moveTo>
                  <a:cubicBezTo>
                    <a:pt x="720" y="7"/>
                    <a:pt x="695" y="7"/>
                    <a:pt x="673" y="6"/>
                  </a:cubicBezTo>
                  <a:cubicBezTo>
                    <a:pt x="629" y="5"/>
                    <a:pt x="595" y="5"/>
                    <a:pt x="571" y="4"/>
                  </a:cubicBezTo>
                  <a:cubicBezTo>
                    <a:pt x="559" y="3"/>
                    <a:pt x="550" y="3"/>
                    <a:pt x="544" y="2"/>
                  </a:cubicBezTo>
                  <a:cubicBezTo>
                    <a:pt x="541" y="2"/>
                    <a:pt x="539" y="2"/>
                    <a:pt x="537" y="1"/>
                  </a:cubicBezTo>
                  <a:cubicBezTo>
                    <a:pt x="536" y="1"/>
                    <a:pt x="535" y="0"/>
                    <a:pt x="535" y="0"/>
                  </a:cubicBezTo>
                  <a:cubicBezTo>
                    <a:pt x="535" y="0"/>
                    <a:pt x="536" y="1"/>
                    <a:pt x="537" y="1"/>
                  </a:cubicBezTo>
                  <a:cubicBezTo>
                    <a:pt x="539" y="2"/>
                    <a:pt x="541" y="2"/>
                    <a:pt x="544" y="3"/>
                  </a:cubicBezTo>
                  <a:cubicBezTo>
                    <a:pt x="550" y="4"/>
                    <a:pt x="559" y="6"/>
                    <a:pt x="571" y="7"/>
                  </a:cubicBezTo>
                  <a:cubicBezTo>
                    <a:pt x="594" y="9"/>
                    <a:pt x="629" y="12"/>
                    <a:pt x="673" y="15"/>
                  </a:cubicBezTo>
                  <a:cubicBezTo>
                    <a:pt x="695" y="16"/>
                    <a:pt x="720" y="17"/>
                    <a:pt x="746" y="18"/>
                  </a:cubicBezTo>
                  <a:cubicBezTo>
                    <a:pt x="763" y="19"/>
                    <a:pt x="780" y="19"/>
                    <a:pt x="798" y="20"/>
                  </a:cubicBezTo>
                  <a:cubicBezTo>
                    <a:pt x="798" y="16"/>
                    <a:pt x="798" y="12"/>
                    <a:pt x="797" y="9"/>
                  </a:cubicBezTo>
                  <a:cubicBezTo>
                    <a:pt x="780" y="8"/>
                    <a:pt x="763" y="8"/>
                    <a:pt x="747" y="8"/>
                  </a:cubicBezTo>
                  <a:close/>
                  <a:moveTo>
                    <a:pt x="400" y="20"/>
                  </a:moveTo>
                  <a:cubicBezTo>
                    <a:pt x="374" y="22"/>
                    <a:pt x="349" y="23"/>
                    <a:pt x="330" y="25"/>
                  </a:cubicBezTo>
                  <a:cubicBezTo>
                    <a:pt x="311" y="26"/>
                    <a:pt x="298" y="27"/>
                    <a:pt x="298" y="27"/>
                  </a:cubicBezTo>
                  <a:cubicBezTo>
                    <a:pt x="298" y="31"/>
                    <a:pt x="298" y="31"/>
                    <a:pt x="298" y="31"/>
                  </a:cubicBezTo>
                  <a:cubicBezTo>
                    <a:pt x="298" y="31"/>
                    <a:pt x="311" y="30"/>
                    <a:pt x="330" y="29"/>
                  </a:cubicBezTo>
                  <a:cubicBezTo>
                    <a:pt x="349" y="27"/>
                    <a:pt x="374" y="26"/>
                    <a:pt x="400" y="25"/>
                  </a:cubicBezTo>
                  <a:cubicBezTo>
                    <a:pt x="451" y="22"/>
                    <a:pt x="502" y="22"/>
                    <a:pt x="502" y="22"/>
                  </a:cubicBezTo>
                  <a:cubicBezTo>
                    <a:pt x="502" y="17"/>
                    <a:pt x="502" y="17"/>
                    <a:pt x="502" y="17"/>
                  </a:cubicBezTo>
                  <a:cubicBezTo>
                    <a:pt x="502" y="17"/>
                    <a:pt x="451" y="18"/>
                    <a:pt x="400" y="20"/>
                  </a:cubicBezTo>
                  <a:close/>
                  <a:moveTo>
                    <a:pt x="3411" y="1539"/>
                  </a:moveTo>
                  <a:cubicBezTo>
                    <a:pt x="3396" y="1527"/>
                    <a:pt x="3375" y="1512"/>
                    <a:pt x="3354" y="1498"/>
                  </a:cubicBezTo>
                  <a:cubicBezTo>
                    <a:pt x="3332" y="1483"/>
                    <a:pt x="3310" y="1470"/>
                    <a:pt x="3293" y="1461"/>
                  </a:cubicBezTo>
                  <a:cubicBezTo>
                    <a:pt x="3284" y="1456"/>
                    <a:pt x="3277" y="1452"/>
                    <a:pt x="3272" y="1450"/>
                  </a:cubicBezTo>
                  <a:cubicBezTo>
                    <a:pt x="3267" y="1447"/>
                    <a:pt x="3264" y="1446"/>
                    <a:pt x="3264" y="1446"/>
                  </a:cubicBezTo>
                  <a:cubicBezTo>
                    <a:pt x="3251" y="1470"/>
                    <a:pt x="3251" y="1470"/>
                    <a:pt x="3251" y="1470"/>
                  </a:cubicBezTo>
                  <a:cubicBezTo>
                    <a:pt x="3251" y="1470"/>
                    <a:pt x="3254" y="1472"/>
                    <a:pt x="3259" y="1474"/>
                  </a:cubicBezTo>
                  <a:cubicBezTo>
                    <a:pt x="3264" y="1477"/>
                    <a:pt x="3271" y="1481"/>
                    <a:pt x="3279" y="1485"/>
                  </a:cubicBezTo>
                  <a:cubicBezTo>
                    <a:pt x="3295" y="1495"/>
                    <a:pt x="3317" y="1507"/>
                    <a:pt x="3338" y="1521"/>
                  </a:cubicBezTo>
                  <a:cubicBezTo>
                    <a:pt x="3359" y="1535"/>
                    <a:pt x="3379" y="1550"/>
                    <a:pt x="3393" y="1562"/>
                  </a:cubicBezTo>
                  <a:cubicBezTo>
                    <a:pt x="3401" y="1568"/>
                    <a:pt x="3407" y="1573"/>
                    <a:pt x="3411" y="1576"/>
                  </a:cubicBezTo>
                  <a:cubicBezTo>
                    <a:pt x="3415" y="1580"/>
                    <a:pt x="3417" y="1582"/>
                    <a:pt x="3417" y="1582"/>
                  </a:cubicBezTo>
                  <a:cubicBezTo>
                    <a:pt x="3436" y="1560"/>
                    <a:pt x="3436" y="1560"/>
                    <a:pt x="3436" y="1560"/>
                  </a:cubicBezTo>
                  <a:cubicBezTo>
                    <a:pt x="3436" y="1560"/>
                    <a:pt x="3434" y="1558"/>
                    <a:pt x="3430" y="1554"/>
                  </a:cubicBezTo>
                  <a:cubicBezTo>
                    <a:pt x="3425" y="1551"/>
                    <a:pt x="3419" y="1545"/>
                    <a:pt x="3411" y="1539"/>
                  </a:cubicBezTo>
                  <a:close/>
                  <a:moveTo>
                    <a:pt x="3397" y="2879"/>
                  </a:moveTo>
                  <a:cubicBezTo>
                    <a:pt x="3391" y="2887"/>
                    <a:pt x="3384" y="2897"/>
                    <a:pt x="3376" y="2907"/>
                  </a:cubicBezTo>
                  <a:cubicBezTo>
                    <a:pt x="3361" y="2926"/>
                    <a:pt x="3346" y="2946"/>
                    <a:pt x="3346" y="2946"/>
                  </a:cubicBezTo>
                  <a:cubicBezTo>
                    <a:pt x="3374" y="2968"/>
                    <a:pt x="3374" y="2968"/>
                    <a:pt x="3374" y="2968"/>
                  </a:cubicBezTo>
                  <a:cubicBezTo>
                    <a:pt x="3374" y="2968"/>
                    <a:pt x="3390" y="2948"/>
                    <a:pt x="3405" y="2928"/>
                  </a:cubicBezTo>
                  <a:cubicBezTo>
                    <a:pt x="3413" y="2918"/>
                    <a:pt x="3420" y="2908"/>
                    <a:pt x="3426" y="2900"/>
                  </a:cubicBezTo>
                  <a:cubicBezTo>
                    <a:pt x="3431" y="2893"/>
                    <a:pt x="3435" y="2888"/>
                    <a:pt x="3435" y="2888"/>
                  </a:cubicBezTo>
                  <a:cubicBezTo>
                    <a:pt x="3406" y="2867"/>
                    <a:pt x="3406" y="2867"/>
                    <a:pt x="3406" y="2867"/>
                  </a:cubicBezTo>
                  <a:cubicBezTo>
                    <a:pt x="3406" y="2867"/>
                    <a:pt x="3402" y="2872"/>
                    <a:pt x="3397" y="2879"/>
                  </a:cubicBezTo>
                  <a:close/>
                  <a:moveTo>
                    <a:pt x="2978" y="1333"/>
                  </a:moveTo>
                  <a:cubicBezTo>
                    <a:pt x="2966" y="1329"/>
                    <a:pt x="2953" y="1325"/>
                    <a:pt x="2942" y="1322"/>
                  </a:cubicBezTo>
                  <a:cubicBezTo>
                    <a:pt x="2936" y="1320"/>
                    <a:pt x="2931" y="1318"/>
                    <a:pt x="2925" y="1317"/>
                  </a:cubicBezTo>
                  <a:cubicBezTo>
                    <a:pt x="2920" y="1315"/>
                    <a:pt x="2915" y="1314"/>
                    <a:pt x="2910" y="1313"/>
                  </a:cubicBezTo>
                  <a:cubicBezTo>
                    <a:pt x="2892" y="1307"/>
                    <a:pt x="2880" y="1304"/>
                    <a:pt x="2880" y="1304"/>
                  </a:cubicBezTo>
                  <a:cubicBezTo>
                    <a:pt x="2873" y="1329"/>
                    <a:pt x="2873" y="1329"/>
                    <a:pt x="2873" y="1329"/>
                  </a:cubicBezTo>
                  <a:cubicBezTo>
                    <a:pt x="2873" y="1329"/>
                    <a:pt x="2885" y="1333"/>
                    <a:pt x="2903" y="1338"/>
                  </a:cubicBezTo>
                  <a:cubicBezTo>
                    <a:pt x="2908" y="1339"/>
                    <a:pt x="2913" y="1341"/>
                    <a:pt x="2918" y="1342"/>
                  </a:cubicBezTo>
                  <a:cubicBezTo>
                    <a:pt x="2923" y="1344"/>
                    <a:pt x="2929" y="1345"/>
                    <a:pt x="2934" y="1347"/>
                  </a:cubicBezTo>
                  <a:cubicBezTo>
                    <a:pt x="2946" y="1351"/>
                    <a:pt x="2958" y="1355"/>
                    <a:pt x="2970" y="1358"/>
                  </a:cubicBezTo>
                  <a:cubicBezTo>
                    <a:pt x="2994" y="1366"/>
                    <a:pt x="3018" y="1374"/>
                    <a:pt x="3036" y="1380"/>
                  </a:cubicBezTo>
                  <a:cubicBezTo>
                    <a:pt x="3054" y="1387"/>
                    <a:pt x="3066" y="1391"/>
                    <a:pt x="3066" y="1391"/>
                  </a:cubicBezTo>
                  <a:cubicBezTo>
                    <a:pt x="3075" y="1365"/>
                    <a:pt x="3075" y="1365"/>
                    <a:pt x="3075" y="1365"/>
                  </a:cubicBezTo>
                  <a:cubicBezTo>
                    <a:pt x="3075" y="1365"/>
                    <a:pt x="3063" y="1361"/>
                    <a:pt x="3045" y="1355"/>
                  </a:cubicBezTo>
                  <a:cubicBezTo>
                    <a:pt x="3027" y="1348"/>
                    <a:pt x="3002" y="1341"/>
                    <a:pt x="2978" y="1333"/>
                  </a:cubicBezTo>
                  <a:close/>
                  <a:moveTo>
                    <a:pt x="2579" y="1243"/>
                  </a:moveTo>
                  <a:cubicBezTo>
                    <a:pt x="2553" y="1239"/>
                    <a:pt x="2528" y="1236"/>
                    <a:pt x="2509" y="1234"/>
                  </a:cubicBezTo>
                  <a:cubicBezTo>
                    <a:pt x="2490" y="1231"/>
                    <a:pt x="2477" y="1230"/>
                    <a:pt x="2477" y="1230"/>
                  </a:cubicBezTo>
                  <a:cubicBezTo>
                    <a:pt x="2474" y="1254"/>
                    <a:pt x="2474" y="1254"/>
                    <a:pt x="2474" y="1254"/>
                  </a:cubicBezTo>
                  <a:cubicBezTo>
                    <a:pt x="2474" y="1254"/>
                    <a:pt x="2487" y="1256"/>
                    <a:pt x="2506" y="1258"/>
                  </a:cubicBezTo>
                  <a:cubicBezTo>
                    <a:pt x="2525" y="1260"/>
                    <a:pt x="2550" y="1264"/>
                    <a:pt x="2575" y="1268"/>
                  </a:cubicBezTo>
                  <a:cubicBezTo>
                    <a:pt x="2600" y="1271"/>
                    <a:pt x="2625" y="1275"/>
                    <a:pt x="2644" y="1279"/>
                  </a:cubicBezTo>
                  <a:cubicBezTo>
                    <a:pt x="2663" y="1282"/>
                    <a:pt x="2675" y="1284"/>
                    <a:pt x="2675" y="1284"/>
                  </a:cubicBezTo>
                  <a:cubicBezTo>
                    <a:pt x="2680" y="1259"/>
                    <a:pt x="2680" y="1259"/>
                    <a:pt x="2680" y="1259"/>
                  </a:cubicBezTo>
                  <a:cubicBezTo>
                    <a:pt x="2680" y="1259"/>
                    <a:pt x="2667" y="1257"/>
                    <a:pt x="2648" y="1254"/>
                  </a:cubicBezTo>
                  <a:cubicBezTo>
                    <a:pt x="2629" y="1251"/>
                    <a:pt x="2604" y="1247"/>
                    <a:pt x="2579" y="1243"/>
                  </a:cubicBezTo>
                  <a:close/>
                  <a:moveTo>
                    <a:pt x="3591" y="2521"/>
                  </a:moveTo>
                  <a:cubicBezTo>
                    <a:pt x="3589" y="2526"/>
                    <a:pt x="3587" y="2533"/>
                    <a:pt x="3583" y="2542"/>
                  </a:cubicBezTo>
                  <a:cubicBezTo>
                    <a:pt x="3577" y="2560"/>
                    <a:pt x="3567" y="2583"/>
                    <a:pt x="3557" y="2606"/>
                  </a:cubicBezTo>
                  <a:cubicBezTo>
                    <a:pt x="3547" y="2629"/>
                    <a:pt x="3536" y="2652"/>
                    <a:pt x="3528" y="2668"/>
                  </a:cubicBezTo>
                  <a:cubicBezTo>
                    <a:pt x="3519" y="2685"/>
                    <a:pt x="3513" y="2696"/>
                    <a:pt x="3513" y="2696"/>
                  </a:cubicBezTo>
                  <a:cubicBezTo>
                    <a:pt x="3544" y="2713"/>
                    <a:pt x="3544" y="2713"/>
                    <a:pt x="3544" y="2713"/>
                  </a:cubicBezTo>
                  <a:cubicBezTo>
                    <a:pt x="3544" y="2713"/>
                    <a:pt x="3550" y="2701"/>
                    <a:pt x="3558" y="2684"/>
                  </a:cubicBezTo>
                  <a:cubicBezTo>
                    <a:pt x="3567" y="2667"/>
                    <a:pt x="3578" y="2643"/>
                    <a:pt x="3589" y="2620"/>
                  </a:cubicBezTo>
                  <a:cubicBezTo>
                    <a:pt x="3599" y="2596"/>
                    <a:pt x="3608" y="2572"/>
                    <a:pt x="3615" y="2554"/>
                  </a:cubicBezTo>
                  <a:cubicBezTo>
                    <a:pt x="3618" y="2545"/>
                    <a:pt x="3621" y="2537"/>
                    <a:pt x="3623" y="2532"/>
                  </a:cubicBezTo>
                  <a:cubicBezTo>
                    <a:pt x="3625" y="2527"/>
                    <a:pt x="3626" y="2524"/>
                    <a:pt x="3626" y="2524"/>
                  </a:cubicBezTo>
                  <a:cubicBezTo>
                    <a:pt x="3594" y="2512"/>
                    <a:pt x="3594" y="2512"/>
                    <a:pt x="3594" y="2512"/>
                  </a:cubicBezTo>
                  <a:cubicBezTo>
                    <a:pt x="3594" y="2512"/>
                    <a:pt x="3593" y="2515"/>
                    <a:pt x="3591" y="2521"/>
                  </a:cubicBezTo>
                  <a:close/>
                  <a:moveTo>
                    <a:pt x="3682" y="2148"/>
                  </a:moveTo>
                  <a:cubicBezTo>
                    <a:pt x="3682" y="2138"/>
                    <a:pt x="3682" y="2130"/>
                    <a:pt x="3681" y="2124"/>
                  </a:cubicBezTo>
                  <a:cubicBezTo>
                    <a:pt x="3681" y="2119"/>
                    <a:pt x="3681" y="2116"/>
                    <a:pt x="3681" y="2116"/>
                  </a:cubicBezTo>
                  <a:cubicBezTo>
                    <a:pt x="3649" y="2118"/>
                    <a:pt x="3649" y="2118"/>
                    <a:pt x="3649" y="2118"/>
                  </a:cubicBezTo>
                  <a:cubicBezTo>
                    <a:pt x="3649" y="2118"/>
                    <a:pt x="3649" y="2121"/>
                    <a:pt x="3649" y="2126"/>
                  </a:cubicBezTo>
                  <a:cubicBezTo>
                    <a:pt x="3650" y="2132"/>
                    <a:pt x="3650" y="2140"/>
                    <a:pt x="3650" y="2149"/>
                  </a:cubicBezTo>
                  <a:cubicBezTo>
                    <a:pt x="3651" y="2168"/>
                    <a:pt x="3651" y="2193"/>
                    <a:pt x="3650" y="2218"/>
                  </a:cubicBezTo>
                  <a:cubicBezTo>
                    <a:pt x="3649" y="2243"/>
                    <a:pt x="3647" y="2268"/>
                    <a:pt x="3645" y="2287"/>
                  </a:cubicBezTo>
                  <a:cubicBezTo>
                    <a:pt x="3644" y="2296"/>
                    <a:pt x="3643" y="2304"/>
                    <a:pt x="3642" y="2309"/>
                  </a:cubicBezTo>
                  <a:cubicBezTo>
                    <a:pt x="3642" y="2315"/>
                    <a:pt x="3641" y="2318"/>
                    <a:pt x="3641" y="2318"/>
                  </a:cubicBezTo>
                  <a:cubicBezTo>
                    <a:pt x="3674" y="2322"/>
                    <a:pt x="3674" y="2322"/>
                    <a:pt x="3674" y="2322"/>
                  </a:cubicBezTo>
                  <a:cubicBezTo>
                    <a:pt x="3674" y="2322"/>
                    <a:pt x="3674" y="2319"/>
                    <a:pt x="3675" y="2313"/>
                  </a:cubicBezTo>
                  <a:cubicBezTo>
                    <a:pt x="3676" y="2308"/>
                    <a:pt x="3677" y="2300"/>
                    <a:pt x="3678" y="2290"/>
                  </a:cubicBezTo>
                  <a:cubicBezTo>
                    <a:pt x="3680" y="2271"/>
                    <a:pt x="3682" y="2245"/>
                    <a:pt x="3682" y="2219"/>
                  </a:cubicBezTo>
                  <a:cubicBezTo>
                    <a:pt x="3683" y="2193"/>
                    <a:pt x="3683" y="2167"/>
                    <a:pt x="3682" y="2148"/>
                  </a:cubicBezTo>
                  <a:close/>
                  <a:moveTo>
                    <a:pt x="2076" y="230"/>
                  </a:moveTo>
                  <a:cubicBezTo>
                    <a:pt x="2082" y="230"/>
                    <a:pt x="2088" y="229"/>
                    <a:pt x="2094" y="229"/>
                  </a:cubicBezTo>
                  <a:cubicBezTo>
                    <a:pt x="2083" y="211"/>
                    <a:pt x="2068" y="197"/>
                    <a:pt x="2052" y="185"/>
                  </a:cubicBezTo>
                  <a:cubicBezTo>
                    <a:pt x="2032" y="169"/>
                    <a:pt x="2010" y="156"/>
                    <a:pt x="1987" y="145"/>
                  </a:cubicBezTo>
                  <a:cubicBezTo>
                    <a:pt x="1974" y="139"/>
                    <a:pt x="1961" y="133"/>
                    <a:pt x="1948" y="128"/>
                  </a:cubicBezTo>
                  <a:cubicBezTo>
                    <a:pt x="1948" y="133"/>
                    <a:pt x="1947" y="139"/>
                    <a:pt x="1946" y="144"/>
                  </a:cubicBezTo>
                  <a:cubicBezTo>
                    <a:pt x="1958" y="149"/>
                    <a:pt x="1969" y="154"/>
                    <a:pt x="1980" y="159"/>
                  </a:cubicBezTo>
                  <a:cubicBezTo>
                    <a:pt x="2002" y="170"/>
                    <a:pt x="2023" y="182"/>
                    <a:pt x="2043" y="197"/>
                  </a:cubicBezTo>
                  <a:cubicBezTo>
                    <a:pt x="2055" y="207"/>
                    <a:pt x="2066" y="218"/>
                    <a:pt x="2076" y="230"/>
                  </a:cubicBezTo>
                  <a:close/>
                  <a:moveTo>
                    <a:pt x="1949" y="472"/>
                  </a:moveTo>
                  <a:cubicBezTo>
                    <a:pt x="1906" y="496"/>
                    <a:pt x="1861" y="515"/>
                    <a:pt x="1816" y="532"/>
                  </a:cubicBezTo>
                  <a:cubicBezTo>
                    <a:pt x="1814" y="533"/>
                    <a:pt x="1812" y="534"/>
                    <a:pt x="1810" y="535"/>
                  </a:cubicBezTo>
                  <a:cubicBezTo>
                    <a:pt x="1813" y="539"/>
                    <a:pt x="1816" y="544"/>
                    <a:pt x="1819" y="549"/>
                  </a:cubicBezTo>
                  <a:cubicBezTo>
                    <a:pt x="1820" y="549"/>
                    <a:pt x="1821" y="549"/>
                    <a:pt x="1822" y="548"/>
                  </a:cubicBezTo>
                  <a:cubicBezTo>
                    <a:pt x="1868" y="531"/>
                    <a:pt x="1914" y="511"/>
                    <a:pt x="1957" y="486"/>
                  </a:cubicBezTo>
                  <a:cubicBezTo>
                    <a:pt x="1961" y="484"/>
                    <a:pt x="1965" y="482"/>
                    <a:pt x="1969" y="480"/>
                  </a:cubicBezTo>
                  <a:cubicBezTo>
                    <a:pt x="1963" y="477"/>
                    <a:pt x="1958" y="474"/>
                    <a:pt x="1952" y="470"/>
                  </a:cubicBezTo>
                  <a:cubicBezTo>
                    <a:pt x="1951" y="471"/>
                    <a:pt x="1950" y="471"/>
                    <a:pt x="1949" y="472"/>
                  </a:cubicBezTo>
                  <a:close/>
                  <a:moveTo>
                    <a:pt x="1835" y="1182"/>
                  </a:moveTo>
                  <a:cubicBezTo>
                    <a:pt x="1816" y="1180"/>
                    <a:pt x="1790" y="1179"/>
                    <a:pt x="1765" y="1178"/>
                  </a:cubicBezTo>
                  <a:cubicBezTo>
                    <a:pt x="1739" y="1177"/>
                    <a:pt x="1714" y="1176"/>
                    <a:pt x="1695" y="1175"/>
                  </a:cubicBezTo>
                  <a:cubicBezTo>
                    <a:pt x="1676" y="1174"/>
                    <a:pt x="1663" y="1173"/>
                    <a:pt x="1663" y="1173"/>
                  </a:cubicBezTo>
                  <a:cubicBezTo>
                    <a:pt x="1662" y="1194"/>
                    <a:pt x="1662" y="1194"/>
                    <a:pt x="1662" y="1194"/>
                  </a:cubicBezTo>
                  <a:cubicBezTo>
                    <a:pt x="1662" y="1194"/>
                    <a:pt x="1675" y="1195"/>
                    <a:pt x="1694" y="1196"/>
                  </a:cubicBezTo>
                  <a:cubicBezTo>
                    <a:pt x="1713" y="1197"/>
                    <a:pt x="1738" y="1198"/>
                    <a:pt x="1764" y="1199"/>
                  </a:cubicBezTo>
                  <a:cubicBezTo>
                    <a:pt x="1789" y="1200"/>
                    <a:pt x="1815" y="1202"/>
                    <a:pt x="1834" y="1203"/>
                  </a:cubicBezTo>
                  <a:cubicBezTo>
                    <a:pt x="1843" y="1204"/>
                    <a:pt x="1851" y="1204"/>
                    <a:pt x="1857" y="1205"/>
                  </a:cubicBezTo>
                  <a:cubicBezTo>
                    <a:pt x="1862" y="1205"/>
                    <a:pt x="1865" y="1205"/>
                    <a:pt x="1865" y="1205"/>
                  </a:cubicBezTo>
                  <a:cubicBezTo>
                    <a:pt x="1867" y="1184"/>
                    <a:pt x="1867" y="1184"/>
                    <a:pt x="1867" y="1184"/>
                  </a:cubicBezTo>
                  <a:cubicBezTo>
                    <a:pt x="1867" y="1184"/>
                    <a:pt x="1864" y="1184"/>
                    <a:pt x="1858" y="1183"/>
                  </a:cubicBezTo>
                  <a:cubicBezTo>
                    <a:pt x="1853" y="1183"/>
                    <a:pt x="1845" y="1182"/>
                    <a:pt x="1835" y="1182"/>
                  </a:cubicBezTo>
                  <a:close/>
                  <a:moveTo>
                    <a:pt x="2069" y="1220"/>
                  </a:moveTo>
                  <a:cubicBezTo>
                    <a:pt x="2272" y="1234"/>
                    <a:pt x="2272" y="1234"/>
                    <a:pt x="2272" y="1234"/>
                  </a:cubicBezTo>
                  <a:cubicBezTo>
                    <a:pt x="2274" y="1211"/>
                    <a:pt x="2274" y="1211"/>
                    <a:pt x="2274" y="1211"/>
                  </a:cubicBezTo>
                  <a:cubicBezTo>
                    <a:pt x="2070" y="1197"/>
                    <a:pt x="2070" y="1197"/>
                    <a:pt x="2070" y="1197"/>
                  </a:cubicBezTo>
                  <a:lnTo>
                    <a:pt x="2069" y="1220"/>
                  </a:lnTo>
                  <a:close/>
                  <a:moveTo>
                    <a:pt x="2100" y="361"/>
                  </a:moveTo>
                  <a:cubicBezTo>
                    <a:pt x="2105" y="349"/>
                    <a:pt x="2110" y="337"/>
                    <a:pt x="2113" y="324"/>
                  </a:cubicBezTo>
                  <a:cubicBezTo>
                    <a:pt x="2113" y="321"/>
                    <a:pt x="2114" y="319"/>
                    <a:pt x="2114" y="316"/>
                  </a:cubicBezTo>
                  <a:cubicBezTo>
                    <a:pt x="2113" y="316"/>
                    <a:pt x="2113" y="316"/>
                    <a:pt x="2112" y="316"/>
                  </a:cubicBezTo>
                  <a:cubicBezTo>
                    <a:pt x="2107" y="316"/>
                    <a:pt x="2102" y="316"/>
                    <a:pt x="2098" y="316"/>
                  </a:cubicBezTo>
                  <a:cubicBezTo>
                    <a:pt x="2097" y="317"/>
                    <a:pt x="2097" y="319"/>
                    <a:pt x="2097" y="320"/>
                  </a:cubicBezTo>
                  <a:cubicBezTo>
                    <a:pt x="2094" y="332"/>
                    <a:pt x="2090" y="343"/>
                    <a:pt x="2085" y="354"/>
                  </a:cubicBezTo>
                  <a:cubicBezTo>
                    <a:pt x="2080" y="365"/>
                    <a:pt x="2073" y="375"/>
                    <a:pt x="2066" y="384"/>
                  </a:cubicBezTo>
                  <a:cubicBezTo>
                    <a:pt x="2051" y="403"/>
                    <a:pt x="2033" y="419"/>
                    <a:pt x="2013" y="432"/>
                  </a:cubicBezTo>
                  <a:cubicBezTo>
                    <a:pt x="2019" y="435"/>
                    <a:pt x="2024" y="437"/>
                    <a:pt x="2030" y="439"/>
                  </a:cubicBezTo>
                  <a:cubicBezTo>
                    <a:pt x="2031" y="439"/>
                    <a:pt x="2031" y="439"/>
                    <a:pt x="2032" y="439"/>
                  </a:cubicBezTo>
                  <a:cubicBezTo>
                    <a:pt x="2049" y="426"/>
                    <a:pt x="2065" y="412"/>
                    <a:pt x="2079" y="395"/>
                  </a:cubicBezTo>
                  <a:cubicBezTo>
                    <a:pt x="2087" y="384"/>
                    <a:pt x="2094" y="373"/>
                    <a:pt x="2100" y="361"/>
                  </a:cubicBezTo>
                  <a:close/>
                  <a:moveTo>
                    <a:pt x="1733" y="579"/>
                  </a:moveTo>
                  <a:cubicBezTo>
                    <a:pt x="1730" y="574"/>
                    <a:pt x="1728" y="569"/>
                    <a:pt x="1725" y="564"/>
                  </a:cubicBezTo>
                  <a:cubicBezTo>
                    <a:pt x="1710" y="568"/>
                    <a:pt x="1695" y="573"/>
                    <a:pt x="1680" y="578"/>
                  </a:cubicBezTo>
                  <a:cubicBezTo>
                    <a:pt x="1638" y="591"/>
                    <a:pt x="1596" y="604"/>
                    <a:pt x="1555" y="618"/>
                  </a:cubicBezTo>
                  <a:cubicBezTo>
                    <a:pt x="1557" y="623"/>
                    <a:pt x="1559" y="628"/>
                    <a:pt x="1561" y="634"/>
                  </a:cubicBezTo>
                  <a:cubicBezTo>
                    <a:pt x="1601" y="620"/>
                    <a:pt x="1643" y="607"/>
                    <a:pt x="1685" y="594"/>
                  </a:cubicBezTo>
                  <a:cubicBezTo>
                    <a:pt x="1701" y="589"/>
                    <a:pt x="1717" y="584"/>
                    <a:pt x="1733" y="57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77"/>
            <p:cNvSpPr>
              <a:spLocks/>
            </p:cNvSpPr>
            <p:nvPr/>
          </p:nvSpPr>
          <p:spPr bwMode="auto">
            <a:xfrm>
              <a:off x="-3859698" y="1078717"/>
              <a:ext cx="10910891" cy="5975697"/>
            </a:xfrm>
            <a:custGeom>
              <a:avLst/>
              <a:gdLst>
                <a:gd name="T0" fmla="*/ 889 w 5391"/>
                <a:gd name="T1" fmla="*/ 185 h 2951"/>
                <a:gd name="T2" fmla="*/ 1785 w 5391"/>
                <a:gd name="T3" fmla="*/ 25 h 2951"/>
                <a:gd name="T4" fmla="*/ 2012 w 5391"/>
                <a:gd name="T5" fmla="*/ 1 h 2951"/>
                <a:gd name="T6" fmla="*/ 2126 w 5391"/>
                <a:gd name="T7" fmla="*/ 0 h 2951"/>
                <a:gd name="T8" fmla="*/ 2919 w 5391"/>
                <a:gd name="T9" fmla="*/ 83 h 2951"/>
                <a:gd name="T10" fmla="*/ 3021 w 5391"/>
                <a:gd name="T11" fmla="*/ 101 h 2951"/>
                <a:gd name="T12" fmla="*/ 3141 w 5391"/>
                <a:gd name="T13" fmla="*/ 132 h 2951"/>
                <a:gd name="T14" fmla="*/ 3485 w 5391"/>
                <a:gd name="T15" fmla="*/ 396 h 2951"/>
                <a:gd name="T16" fmla="*/ 3470 w 5391"/>
                <a:gd name="T17" fmla="*/ 473 h 2951"/>
                <a:gd name="T18" fmla="*/ 3439 w 5391"/>
                <a:gd name="T19" fmla="*/ 525 h 2951"/>
                <a:gd name="T20" fmla="*/ 3136 w 5391"/>
                <a:gd name="T21" fmla="*/ 676 h 2951"/>
                <a:gd name="T22" fmla="*/ 2748 w 5391"/>
                <a:gd name="T23" fmla="*/ 800 h 2951"/>
                <a:gd name="T24" fmla="*/ 2670 w 5391"/>
                <a:gd name="T25" fmla="*/ 873 h 2951"/>
                <a:gd name="T26" fmla="*/ 2687 w 5391"/>
                <a:gd name="T27" fmla="*/ 1019 h 2951"/>
                <a:gd name="T28" fmla="*/ 2707 w 5391"/>
                <a:gd name="T29" fmla="*/ 1039 h 2951"/>
                <a:gd name="T30" fmla="*/ 2731 w 5391"/>
                <a:gd name="T31" fmla="*/ 1056 h 2951"/>
                <a:gd name="T32" fmla="*/ 3000 w 5391"/>
                <a:gd name="T33" fmla="*/ 1121 h 2951"/>
                <a:gd name="T34" fmla="*/ 3350 w 5391"/>
                <a:gd name="T35" fmla="*/ 1126 h 2951"/>
                <a:gd name="T36" fmla="*/ 3375 w 5391"/>
                <a:gd name="T37" fmla="*/ 1125 h 2951"/>
                <a:gd name="T38" fmla="*/ 3956 w 5391"/>
                <a:gd name="T39" fmla="*/ 1134 h 2951"/>
                <a:gd name="T40" fmla="*/ 4852 w 5391"/>
                <a:gd name="T41" fmla="*/ 1453 h 2951"/>
                <a:gd name="T42" fmla="*/ 5176 w 5391"/>
                <a:gd name="T43" fmla="*/ 1757 h 2951"/>
                <a:gd name="T44" fmla="*/ 5301 w 5391"/>
                <a:gd name="T45" fmla="*/ 1963 h 2951"/>
                <a:gd name="T46" fmla="*/ 5383 w 5391"/>
                <a:gd name="T47" fmla="*/ 2228 h 2951"/>
                <a:gd name="T48" fmla="*/ 5353 w 5391"/>
                <a:gd name="T49" fmla="*/ 2458 h 2951"/>
                <a:gd name="T50" fmla="*/ 5347 w 5391"/>
                <a:gd name="T51" fmla="*/ 2512 h 2951"/>
                <a:gd name="T52" fmla="*/ 5344 w 5391"/>
                <a:gd name="T53" fmla="*/ 2595 h 2951"/>
                <a:gd name="T54" fmla="*/ 5345 w 5391"/>
                <a:gd name="T55" fmla="*/ 2620 h 2951"/>
                <a:gd name="T56" fmla="*/ 5382 w 5391"/>
                <a:gd name="T57" fmla="*/ 2808 h 2951"/>
                <a:gd name="T58" fmla="*/ 5390 w 5391"/>
                <a:gd name="T59" fmla="*/ 2873 h 2951"/>
                <a:gd name="T60" fmla="*/ 5386 w 5391"/>
                <a:gd name="T61" fmla="*/ 2939 h 2951"/>
                <a:gd name="T62" fmla="*/ 5350 w 5391"/>
                <a:gd name="T63" fmla="*/ 2915 h 2951"/>
                <a:gd name="T64" fmla="*/ 5370 w 5391"/>
                <a:gd name="T65" fmla="*/ 2915 h 2951"/>
                <a:gd name="T66" fmla="*/ 5369 w 5391"/>
                <a:gd name="T67" fmla="*/ 2853 h 2951"/>
                <a:gd name="T68" fmla="*/ 5336 w 5391"/>
                <a:gd name="T69" fmla="*/ 2686 h 2951"/>
                <a:gd name="T70" fmla="*/ 5325 w 5391"/>
                <a:gd name="T71" fmla="*/ 2601 h 2951"/>
                <a:gd name="T72" fmla="*/ 5325 w 5391"/>
                <a:gd name="T73" fmla="*/ 2589 h 2951"/>
                <a:gd name="T74" fmla="*/ 5328 w 5391"/>
                <a:gd name="T75" fmla="*/ 2509 h 2951"/>
                <a:gd name="T76" fmla="*/ 5336 w 5391"/>
                <a:gd name="T77" fmla="*/ 2438 h 2951"/>
                <a:gd name="T78" fmla="*/ 5333 w 5391"/>
                <a:gd name="T79" fmla="*/ 2096 h 2951"/>
                <a:gd name="T80" fmla="*/ 5182 w 5391"/>
                <a:gd name="T81" fmla="*/ 1795 h 2951"/>
                <a:gd name="T82" fmla="*/ 4951 w 5391"/>
                <a:gd name="T83" fmla="*/ 1548 h 2951"/>
                <a:gd name="T84" fmla="*/ 4222 w 5391"/>
                <a:gd name="T85" fmla="*/ 1196 h 2951"/>
                <a:gd name="T86" fmla="*/ 3409 w 5391"/>
                <a:gd name="T87" fmla="*/ 1137 h 2951"/>
                <a:gd name="T88" fmla="*/ 3352 w 5391"/>
                <a:gd name="T89" fmla="*/ 1138 h 2951"/>
                <a:gd name="T90" fmla="*/ 3136 w 5391"/>
                <a:gd name="T91" fmla="*/ 1138 h 2951"/>
                <a:gd name="T92" fmla="*/ 2733 w 5391"/>
                <a:gd name="T93" fmla="*/ 1070 h 2951"/>
                <a:gd name="T94" fmla="*/ 2704 w 5391"/>
                <a:gd name="T95" fmla="*/ 1050 h 2951"/>
                <a:gd name="T96" fmla="*/ 2685 w 5391"/>
                <a:gd name="T97" fmla="*/ 1032 h 2951"/>
                <a:gd name="T98" fmla="*/ 2657 w 5391"/>
                <a:gd name="T99" fmla="*/ 876 h 2951"/>
                <a:gd name="T100" fmla="*/ 2713 w 5391"/>
                <a:gd name="T101" fmla="*/ 810 h 2951"/>
                <a:gd name="T102" fmla="*/ 3067 w 5391"/>
                <a:gd name="T103" fmla="*/ 683 h 2951"/>
                <a:gd name="T104" fmla="*/ 3383 w 5391"/>
                <a:gd name="T105" fmla="*/ 565 h 2951"/>
                <a:gd name="T106" fmla="*/ 3459 w 5391"/>
                <a:gd name="T107" fmla="*/ 477 h 2951"/>
                <a:gd name="T108" fmla="*/ 3477 w 5391"/>
                <a:gd name="T109" fmla="*/ 397 h 2951"/>
                <a:gd name="T110" fmla="*/ 3139 w 5391"/>
                <a:gd name="T111" fmla="*/ 139 h 2951"/>
                <a:gd name="T112" fmla="*/ 3019 w 5391"/>
                <a:gd name="T113" fmla="*/ 108 h 2951"/>
                <a:gd name="T114" fmla="*/ 2918 w 5391"/>
                <a:gd name="T115" fmla="*/ 89 h 2951"/>
                <a:gd name="T116" fmla="*/ 2126 w 5391"/>
                <a:gd name="T117" fmla="*/ 5 h 2951"/>
                <a:gd name="T118" fmla="*/ 2012 w 5391"/>
                <a:gd name="T119" fmla="*/ 5 h 2951"/>
                <a:gd name="T120" fmla="*/ 1786 w 5391"/>
                <a:gd name="T121" fmla="*/ 30 h 2951"/>
                <a:gd name="T122" fmla="*/ 889 w 5391"/>
                <a:gd name="T123" fmla="*/ 187 h 2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91" h="2951">
                  <a:moveTo>
                    <a:pt x="0" y="382"/>
                  </a:moveTo>
                  <a:cubicBezTo>
                    <a:pt x="146" y="342"/>
                    <a:pt x="293" y="303"/>
                    <a:pt x="441" y="268"/>
                  </a:cubicBezTo>
                  <a:cubicBezTo>
                    <a:pt x="515" y="251"/>
                    <a:pt x="589" y="235"/>
                    <a:pt x="664" y="221"/>
                  </a:cubicBezTo>
                  <a:cubicBezTo>
                    <a:pt x="738" y="207"/>
                    <a:pt x="813" y="195"/>
                    <a:pt x="889" y="185"/>
                  </a:cubicBezTo>
                  <a:cubicBezTo>
                    <a:pt x="1039" y="164"/>
                    <a:pt x="1189" y="142"/>
                    <a:pt x="1338" y="111"/>
                  </a:cubicBezTo>
                  <a:cubicBezTo>
                    <a:pt x="1375" y="104"/>
                    <a:pt x="1412" y="95"/>
                    <a:pt x="1449" y="87"/>
                  </a:cubicBezTo>
                  <a:cubicBezTo>
                    <a:pt x="1486" y="79"/>
                    <a:pt x="1524" y="71"/>
                    <a:pt x="1561" y="64"/>
                  </a:cubicBezTo>
                  <a:cubicBezTo>
                    <a:pt x="1635" y="49"/>
                    <a:pt x="1710" y="35"/>
                    <a:pt x="1785" y="25"/>
                  </a:cubicBezTo>
                  <a:cubicBezTo>
                    <a:pt x="1814" y="22"/>
                    <a:pt x="1814" y="22"/>
                    <a:pt x="1814" y="22"/>
                  </a:cubicBezTo>
                  <a:cubicBezTo>
                    <a:pt x="1823" y="20"/>
                    <a:pt x="1832" y="19"/>
                    <a:pt x="1842" y="18"/>
                  </a:cubicBezTo>
                  <a:cubicBezTo>
                    <a:pt x="1860" y="14"/>
                    <a:pt x="1879" y="12"/>
                    <a:pt x="1898" y="9"/>
                  </a:cubicBezTo>
                  <a:cubicBezTo>
                    <a:pt x="1936" y="5"/>
                    <a:pt x="1974" y="2"/>
                    <a:pt x="2012" y="1"/>
                  </a:cubicBezTo>
                  <a:cubicBezTo>
                    <a:pt x="2021" y="0"/>
                    <a:pt x="2031" y="0"/>
                    <a:pt x="2040" y="0"/>
                  </a:cubicBezTo>
                  <a:cubicBezTo>
                    <a:pt x="2069" y="0"/>
                    <a:pt x="2069" y="0"/>
                    <a:pt x="2069" y="0"/>
                  </a:cubicBezTo>
                  <a:cubicBezTo>
                    <a:pt x="2097" y="0"/>
                    <a:pt x="2097" y="0"/>
                    <a:pt x="2097" y="0"/>
                  </a:cubicBezTo>
                  <a:cubicBezTo>
                    <a:pt x="2107" y="0"/>
                    <a:pt x="2116" y="0"/>
                    <a:pt x="2126" y="0"/>
                  </a:cubicBezTo>
                  <a:cubicBezTo>
                    <a:pt x="2164" y="1"/>
                    <a:pt x="2202" y="3"/>
                    <a:pt x="2240" y="6"/>
                  </a:cubicBezTo>
                  <a:cubicBezTo>
                    <a:pt x="2315" y="11"/>
                    <a:pt x="2391" y="18"/>
                    <a:pt x="2467" y="26"/>
                  </a:cubicBezTo>
                  <a:cubicBezTo>
                    <a:pt x="2693" y="52"/>
                    <a:pt x="2693" y="52"/>
                    <a:pt x="2693" y="52"/>
                  </a:cubicBezTo>
                  <a:cubicBezTo>
                    <a:pt x="2768" y="61"/>
                    <a:pt x="2844" y="71"/>
                    <a:pt x="2919" y="83"/>
                  </a:cubicBezTo>
                  <a:cubicBezTo>
                    <a:pt x="2937" y="86"/>
                    <a:pt x="2956" y="89"/>
                    <a:pt x="2975" y="92"/>
                  </a:cubicBezTo>
                  <a:cubicBezTo>
                    <a:pt x="2984" y="94"/>
                    <a:pt x="2994" y="96"/>
                    <a:pt x="3003" y="97"/>
                  </a:cubicBezTo>
                  <a:cubicBezTo>
                    <a:pt x="3017" y="100"/>
                    <a:pt x="3017" y="100"/>
                    <a:pt x="3017" y="100"/>
                  </a:cubicBezTo>
                  <a:cubicBezTo>
                    <a:pt x="3018" y="100"/>
                    <a:pt x="3019" y="100"/>
                    <a:pt x="3021" y="101"/>
                  </a:cubicBezTo>
                  <a:cubicBezTo>
                    <a:pt x="3024" y="102"/>
                    <a:pt x="3024" y="102"/>
                    <a:pt x="3024" y="102"/>
                  </a:cubicBezTo>
                  <a:cubicBezTo>
                    <a:pt x="3031" y="103"/>
                    <a:pt x="3031" y="103"/>
                    <a:pt x="3031" y="103"/>
                  </a:cubicBezTo>
                  <a:cubicBezTo>
                    <a:pt x="3086" y="118"/>
                    <a:pt x="3086" y="118"/>
                    <a:pt x="3086" y="118"/>
                  </a:cubicBezTo>
                  <a:cubicBezTo>
                    <a:pt x="3104" y="122"/>
                    <a:pt x="3123" y="127"/>
                    <a:pt x="3141" y="132"/>
                  </a:cubicBezTo>
                  <a:cubicBezTo>
                    <a:pt x="3178" y="142"/>
                    <a:pt x="3214" y="152"/>
                    <a:pt x="3250" y="166"/>
                  </a:cubicBezTo>
                  <a:cubicBezTo>
                    <a:pt x="3286" y="179"/>
                    <a:pt x="3321" y="195"/>
                    <a:pt x="3354" y="215"/>
                  </a:cubicBezTo>
                  <a:cubicBezTo>
                    <a:pt x="3386" y="235"/>
                    <a:pt x="3416" y="260"/>
                    <a:pt x="3440" y="291"/>
                  </a:cubicBezTo>
                  <a:cubicBezTo>
                    <a:pt x="3463" y="321"/>
                    <a:pt x="3479" y="358"/>
                    <a:pt x="3485" y="396"/>
                  </a:cubicBezTo>
                  <a:cubicBezTo>
                    <a:pt x="3486" y="396"/>
                    <a:pt x="3486" y="396"/>
                    <a:pt x="3486" y="396"/>
                  </a:cubicBezTo>
                  <a:cubicBezTo>
                    <a:pt x="3486" y="396"/>
                    <a:pt x="3486" y="396"/>
                    <a:pt x="3486" y="396"/>
                  </a:cubicBezTo>
                  <a:cubicBezTo>
                    <a:pt x="3486" y="420"/>
                    <a:pt x="3481" y="443"/>
                    <a:pt x="3474" y="465"/>
                  </a:cubicBezTo>
                  <a:cubicBezTo>
                    <a:pt x="3473" y="467"/>
                    <a:pt x="3472" y="470"/>
                    <a:pt x="3470" y="473"/>
                  </a:cubicBezTo>
                  <a:cubicBezTo>
                    <a:pt x="3467" y="481"/>
                    <a:pt x="3467" y="481"/>
                    <a:pt x="3467" y="481"/>
                  </a:cubicBezTo>
                  <a:cubicBezTo>
                    <a:pt x="3466" y="483"/>
                    <a:pt x="3464" y="486"/>
                    <a:pt x="3463" y="489"/>
                  </a:cubicBezTo>
                  <a:cubicBezTo>
                    <a:pt x="3462" y="491"/>
                    <a:pt x="3461" y="494"/>
                    <a:pt x="3459" y="496"/>
                  </a:cubicBezTo>
                  <a:cubicBezTo>
                    <a:pt x="3453" y="507"/>
                    <a:pt x="3446" y="516"/>
                    <a:pt x="3439" y="525"/>
                  </a:cubicBezTo>
                  <a:cubicBezTo>
                    <a:pt x="3424" y="543"/>
                    <a:pt x="3407" y="558"/>
                    <a:pt x="3388" y="572"/>
                  </a:cubicBezTo>
                  <a:cubicBezTo>
                    <a:pt x="3370" y="586"/>
                    <a:pt x="3350" y="597"/>
                    <a:pt x="3329" y="608"/>
                  </a:cubicBezTo>
                  <a:cubicBezTo>
                    <a:pt x="3288" y="628"/>
                    <a:pt x="3245" y="644"/>
                    <a:pt x="3202" y="657"/>
                  </a:cubicBezTo>
                  <a:cubicBezTo>
                    <a:pt x="3180" y="664"/>
                    <a:pt x="3158" y="670"/>
                    <a:pt x="3136" y="676"/>
                  </a:cubicBezTo>
                  <a:cubicBezTo>
                    <a:pt x="3113" y="681"/>
                    <a:pt x="3091" y="687"/>
                    <a:pt x="3069" y="692"/>
                  </a:cubicBezTo>
                  <a:cubicBezTo>
                    <a:pt x="3025" y="703"/>
                    <a:pt x="2981" y="714"/>
                    <a:pt x="2937" y="726"/>
                  </a:cubicBezTo>
                  <a:cubicBezTo>
                    <a:pt x="2894" y="739"/>
                    <a:pt x="2850" y="753"/>
                    <a:pt x="2808" y="770"/>
                  </a:cubicBezTo>
                  <a:cubicBezTo>
                    <a:pt x="2788" y="779"/>
                    <a:pt x="2767" y="788"/>
                    <a:pt x="2748" y="800"/>
                  </a:cubicBezTo>
                  <a:cubicBezTo>
                    <a:pt x="2738" y="805"/>
                    <a:pt x="2728" y="811"/>
                    <a:pt x="2719" y="818"/>
                  </a:cubicBezTo>
                  <a:cubicBezTo>
                    <a:pt x="2710" y="825"/>
                    <a:pt x="2702" y="832"/>
                    <a:pt x="2694" y="840"/>
                  </a:cubicBezTo>
                  <a:cubicBezTo>
                    <a:pt x="2686" y="847"/>
                    <a:pt x="2679" y="856"/>
                    <a:pt x="2674" y="865"/>
                  </a:cubicBezTo>
                  <a:cubicBezTo>
                    <a:pt x="2670" y="873"/>
                    <a:pt x="2670" y="873"/>
                    <a:pt x="2670" y="873"/>
                  </a:cubicBezTo>
                  <a:cubicBezTo>
                    <a:pt x="2668" y="875"/>
                    <a:pt x="2667" y="878"/>
                    <a:pt x="2666" y="880"/>
                  </a:cubicBezTo>
                  <a:cubicBezTo>
                    <a:pt x="2664" y="885"/>
                    <a:pt x="2662" y="890"/>
                    <a:pt x="2661" y="895"/>
                  </a:cubicBezTo>
                  <a:cubicBezTo>
                    <a:pt x="2655" y="916"/>
                    <a:pt x="2653" y="939"/>
                    <a:pt x="2659" y="960"/>
                  </a:cubicBezTo>
                  <a:cubicBezTo>
                    <a:pt x="2663" y="982"/>
                    <a:pt x="2673" y="1002"/>
                    <a:pt x="2687" y="1019"/>
                  </a:cubicBezTo>
                  <a:cubicBezTo>
                    <a:pt x="2689" y="1021"/>
                    <a:pt x="2691" y="1023"/>
                    <a:pt x="2693" y="1025"/>
                  </a:cubicBezTo>
                  <a:cubicBezTo>
                    <a:pt x="2695" y="1027"/>
                    <a:pt x="2696" y="1029"/>
                    <a:pt x="2698" y="1031"/>
                  </a:cubicBezTo>
                  <a:cubicBezTo>
                    <a:pt x="2704" y="1036"/>
                    <a:pt x="2704" y="1036"/>
                    <a:pt x="2704" y="1036"/>
                  </a:cubicBezTo>
                  <a:cubicBezTo>
                    <a:pt x="2707" y="1039"/>
                    <a:pt x="2707" y="1039"/>
                    <a:pt x="2707" y="1039"/>
                  </a:cubicBezTo>
                  <a:cubicBezTo>
                    <a:pt x="2711" y="1042"/>
                    <a:pt x="2711" y="1042"/>
                    <a:pt x="2711" y="1042"/>
                  </a:cubicBezTo>
                  <a:cubicBezTo>
                    <a:pt x="2713" y="1043"/>
                    <a:pt x="2715" y="1045"/>
                    <a:pt x="2717" y="1047"/>
                  </a:cubicBezTo>
                  <a:cubicBezTo>
                    <a:pt x="2724" y="1051"/>
                    <a:pt x="2724" y="1051"/>
                    <a:pt x="2724" y="1051"/>
                  </a:cubicBezTo>
                  <a:cubicBezTo>
                    <a:pt x="2726" y="1053"/>
                    <a:pt x="2729" y="1054"/>
                    <a:pt x="2731" y="1056"/>
                  </a:cubicBezTo>
                  <a:cubicBezTo>
                    <a:pt x="2734" y="1057"/>
                    <a:pt x="2736" y="1059"/>
                    <a:pt x="2738" y="1060"/>
                  </a:cubicBezTo>
                  <a:cubicBezTo>
                    <a:pt x="2758" y="1071"/>
                    <a:pt x="2779" y="1080"/>
                    <a:pt x="2800" y="1087"/>
                  </a:cubicBezTo>
                  <a:cubicBezTo>
                    <a:pt x="2821" y="1094"/>
                    <a:pt x="2843" y="1099"/>
                    <a:pt x="2865" y="1104"/>
                  </a:cubicBezTo>
                  <a:cubicBezTo>
                    <a:pt x="2910" y="1112"/>
                    <a:pt x="2955" y="1117"/>
                    <a:pt x="3000" y="1121"/>
                  </a:cubicBezTo>
                  <a:cubicBezTo>
                    <a:pt x="3045" y="1124"/>
                    <a:pt x="3091" y="1125"/>
                    <a:pt x="3136" y="1126"/>
                  </a:cubicBezTo>
                  <a:cubicBezTo>
                    <a:pt x="3182" y="1126"/>
                    <a:pt x="3227" y="1126"/>
                    <a:pt x="3273" y="1126"/>
                  </a:cubicBezTo>
                  <a:cubicBezTo>
                    <a:pt x="3295" y="1126"/>
                    <a:pt x="3318" y="1126"/>
                    <a:pt x="3341" y="1126"/>
                  </a:cubicBezTo>
                  <a:cubicBezTo>
                    <a:pt x="3350" y="1126"/>
                    <a:pt x="3350" y="1126"/>
                    <a:pt x="3350" y="1126"/>
                  </a:cubicBezTo>
                  <a:cubicBezTo>
                    <a:pt x="3352" y="1126"/>
                    <a:pt x="3352" y="1126"/>
                    <a:pt x="3352" y="1126"/>
                  </a:cubicBezTo>
                  <a:cubicBezTo>
                    <a:pt x="3354" y="1126"/>
                    <a:pt x="3354" y="1126"/>
                    <a:pt x="3354" y="1126"/>
                  </a:cubicBezTo>
                  <a:cubicBezTo>
                    <a:pt x="3358" y="1126"/>
                    <a:pt x="3358" y="1126"/>
                    <a:pt x="3358" y="1126"/>
                  </a:cubicBezTo>
                  <a:cubicBezTo>
                    <a:pt x="3375" y="1125"/>
                    <a:pt x="3375" y="1125"/>
                    <a:pt x="3375" y="1125"/>
                  </a:cubicBezTo>
                  <a:cubicBezTo>
                    <a:pt x="3409" y="1125"/>
                    <a:pt x="3409" y="1125"/>
                    <a:pt x="3409" y="1125"/>
                  </a:cubicBezTo>
                  <a:cubicBezTo>
                    <a:pt x="3682" y="1120"/>
                    <a:pt x="3682" y="1120"/>
                    <a:pt x="3682" y="1120"/>
                  </a:cubicBezTo>
                  <a:cubicBezTo>
                    <a:pt x="3728" y="1119"/>
                    <a:pt x="3774" y="1120"/>
                    <a:pt x="3819" y="1123"/>
                  </a:cubicBezTo>
                  <a:cubicBezTo>
                    <a:pt x="3865" y="1125"/>
                    <a:pt x="3911" y="1129"/>
                    <a:pt x="3956" y="1134"/>
                  </a:cubicBezTo>
                  <a:cubicBezTo>
                    <a:pt x="4047" y="1144"/>
                    <a:pt x="4137" y="1160"/>
                    <a:pt x="4226" y="1182"/>
                  </a:cubicBezTo>
                  <a:cubicBezTo>
                    <a:pt x="4315" y="1203"/>
                    <a:pt x="4402" y="1230"/>
                    <a:pt x="4487" y="1263"/>
                  </a:cubicBezTo>
                  <a:cubicBezTo>
                    <a:pt x="4573" y="1296"/>
                    <a:pt x="4656" y="1335"/>
                    <a:pt x="4735" y="1380"/>
                  </a:cubicBezTo>
                  <a:cubicBezTo>
                    <a:pt x="4775" y="1403"/>
                    <a:pt x="4814" y="1427"/>
                    <a:pt x="4852" y="1453"/>
                  </a:cubicBezTo>
                  <a:cubicBezTo>
                    <a:pt x="4889" y="1479"/>
                    <a:pt x="4926" y="1506"/>
                    <a:pt x="4961" y="1535"/>
                  </a:cubicBezTo>
                  <a:cubicBezTo>
                    <a:pt x="4997" y="1564"/>
                    <a:pt x="5031" y="1595"/>
                    <a:pt x="5063" y="1628"/>
                  </a:cubicBezTo>
                  <a:cubicBezTo>
                    <a:pt x="5095" y="1660"/>
                    <a:pt x="5126" y="1694"/>
                    <a:pt x="5155" y="1730"/>
                  </a:cubicBezTo>
                  <a:cubicBezTo>
                    <a:pt x="5162" y="1739"/>
                    <a:pt x="5169" y="1748"/>
                    <a:pt x="5176" y="1757"/>
                  </a:cubicBezTo>
                  <a:cubicBezTo>
                    <a:pt x="5183" y="1766"/>
                    <a:pt x="5190" y="1775"/>
                    <a:pt x="5196" y="1785"/>
                  </a:cubicBezTo>
                  <a:cubicBezTo>
                    <a:pt x="5203" y="1794"/>
                    <a:pt x="5210" y="1803"/>
                    <a:pt x="5216" y="1813"/>
                  </a:cubicBezTo>
                  <a:cubicBezTo>
                    <a:pt x="5223" y="1822"/>
                    <a:pt x="5229" y="1832"/>
                    <a:pt x="5235" y="1842"/>
                  </a:cubicBezTo>
                  <a:cubicBezTo>
                    <a:pt x="5259" y="1881"/>
                    <a:pt x="5281" y="1921"/>
                    <a:pt x="5301" y="1963"/>
                  </a:cubicBezTo>
                  <a:cubicBezTo>
                    <a:pt x="5320" y="2004"/>
                    <a:pt x="5336" y="2047"/>
                    <a:pt x="5350" y="2091"/>
                  </a:cubicBezTo>
                  <a:cubicBezTo>
                    <a:pt x="5364" y="2135"/>
                    <a:pt x="5374" y="2180"/>
                    <a:pt x="5383" y="2225"/>
                  </a:cubicBezTo>
                  <a:cubicBezTo>
                    <a:pt x="5383" y="2226"/>
                    <a:pt x="5383" y="2226"/>
                    <a:pt x="5383" y="2226"/>
                  </a:cubicBezTo>
                  <a:cubicBezTo>
                    <a:pt x="5383" y="2228"/>
                    <a:pt x="5383" y="2228"/>
                    <a:pt x="5383" y="2228"/>
                  </a:cubicBezTo>
                  <a:cubicBezTo>
                    <a:pt x="5364" y="2369"/>
                    <a:pt x="5364" y="2369"/>
                    <a:pt x="5364" y="2369"/>
                  </a:cubicBezTo>
                  <a:cubicBezTo>
                    <a:pt x="5355" y="2440"/>
                    <a:pt x="5355" y="2440"/>
                    <a:pt x="5355" y="2440"/>
                  </a:cubicBezTo>
                  <a:cubicBezTo>
                    <a:pt x="5354" y="2449"/>
                    <a:pt x="5354" y="2449"/>
                    <a:pt x="5354" y="2449"/>
                  </a:cubicBezTo>
                  <a:cubicBezTo>
                    <a:pt x="5353" y="2458"/>
                    <a:pt x="5353" y="2458"/>
                    <a:pt x="5353" y="2458"/>
                  </a:cubicBezTo>
                  <a:cubicBezTo>
                    <a:pt x="5351" y="2475"/>
                    <a:pt x="5351" y="2475"/>
                    <a:pt x="5351" y="2475"/>
                  </a:cubicBezTo>
                  <a:cubicBezTo>
                    <a:pt x="5347" y="2511"/>
                    <a:pt x="5347" y="2511"/>
                    <a:pt x="5347" y="2511"/>
                  </a:cubicBezTo>
                  <a:cubicBezTo>
                    <a:pt x="5347" y="2512"/>
                    <a:pt x="5347" y="2512"/>
                    <a:pt x="5347" y="2512"/>
                  </a:cubicBezTo>
                  <a:cubicBezTo>
                    <a:pt x="5347" y="2512"/>
                    <a:pt x="5347" y="2512"/>
                    <a:pt x="5347" y="2512"/>
                  </a:cubicBezTo>
                  <a:cubicBezTo>
                    <a:pt x="5343" y="2526"/>
                    <a:pt x="5343" y="2540"/>
                    <a:pt x="5343" y="2555"/>
                  </a:cubicBezTo>
                  <a:cubicBezTo>
                    <a:pt x="5343" y="2562"/>
                    <a:pt x="5343" y="2569"/>
                    <a:pt x="5344" y="2577"/>
                  </a:cubicBezTo>
                  <a:cubicBezTo>
                    <a:pt x="5344" y="2581"/>
                    <a:pt x="5344" y="2585"/>
                    <a:pt x="5344" y="2589"/>
                  </a:cubicBezTo>
                  <a:cubicBezTo>
                    <a:pt x="5344" y="2591"/>
                    <a:pt x="5344" y="2593"/>
                    <a:pt x="5344" y="2595"/>
                  </a:cubicBezTo>
                  <a:cubicBezTo>
                    <a:pt x="5344" y="2597"/>
                    <a:pt x="5344" y="2599"/>
                    <a:pt x="5344" y="2601"/>
                  </a:cubicBezTo>
                  <a:cubicBezTo>
                    <a:pt x="5344" y="2599"/>
                    <a:pt x="5344" y="2599"/>
                    <a:pt x="5344" y="2599"/>
                  </a:cubicBezTo>
                  <a:cubicBezTo>
                    <a:pt x="5345" y="2610"/>
                    <a:pt x="5345" y="2610"/>
                    <a:pt x="5345" y="2610"/>
                  </a:cubicBezTo>
                  <a:cubicBezTo>
                    <a:pt x="5345" y="2620"/>
                    <a:pt x="5345" y="2620"/>
                    <a:pt x="5345" y="2620"/>
                  </a:cubicBezTo>
                  <a:cubicBezTo>
                    <a:pt x="5346" y="2627"/>
                    <a:pt x="5347" y="2634"/>
                    <a:pt x="5348" y="2641"/>
                  </a:cubicBezTo>
                  <a:cubicBezTo>
                    <a:pt x="5350" y="2655"/>
                    <a:pt x="5352" y="2669"/>
                    <a:pt x="5355" y="2683"/>
                  </a:cubicBezTo>
                  <a:cubicBezTo>
                    <a:pt x="5360" y="2710"/>
                    <a:pt x="5367" y="2738"/>
                    <a:pt x="5373" y="2766"/>
                  </a:cubicBezTo>
                  <a:cubicBezTo>
                    <a:pt x="5376" y="2780"/>
                    <a:pt x="5379" y="2794"/>
                    <a:pt x="5382" y="2808"/>
                  </a:cubicBezTo>
                  <a:cubicBezTo>
                    <a:pt x="5383" y="2815"/>
                    <a:pt x="5384" y="2822"/>
                    <a:pt x="5386" y="2829"/>
                  </a:cubicBezTo>
                  <a:cubicBezTo>
                    <a:pt x="5387" y="2836"/>
                    <a:pt x="5388" y="2844"/>
                    <a:pt x="5388" y="2851"/>
                  </a:cubicBezTo>
                  <a:cubicBezTo>
                    <a:pt x="5389" y="2854"/>
                    <a:pt x="5389" y="2858"/>
                    <a:pt x="5389" y="2862"/>
                  </a:cubicBezTo>
                  <a:cubicBezTo>
                    <a:pt x="5390" y="2865"/>
                    <a:pt x="5390" y="2869"/>
                    <a:pt x="5390" y="2873"/>
                  </a:cubicBezTo>
                  <a:cubicBezTo>
                    <a:pt x="5391" y="2880"/>
                    <a:pt x="5391" y="2887"/>
                    <a:pt x="5391" y="2895"/>
                  </a:cubicBezTo>
                  <a:cubicBezTo>
                    <a:pt x="5390" y="2902"/>
                    <a:pt x="5390" y="2909"/>
                    <a:pt x="5389" y="2917"/>
                  </a:cubicBezTo>
                  <a:cubicBezTo>
                    <a:pt x="5388" y="2928"/>
                    <a:pt x="5388" y="2928"/>
                    <a:pt x="5388" y="2928"/>
                  </a:cubicBezTo>
                  <a:cubicBezTo>
                    <a:pt x="5386" y="2939"/>
                    <a:pt x="5386" y="2939"/>
                    <a:pt x="5386" y="2939"/>
                  </a:cubicBezTo>
                  <a:cubicBezTo>
                    <a:pt x="5384" y="2951"/>
                    <a:pt x="5384" y="2951"/>
                    <a:pt x="5384" y="2951"/>
                  </a:cubicBezTo>
                  <a:cubicBezTo>
                    <a:pt x="5372" y="2946"/>
                    <a:pt x="5372" y="2946"/>
                    <a:pt x="5372" y="2946"/>
                  </a:cubicBezTo>
                  <a:cubicBezTo>
                    <a:pt x="5342" y="2934"/>
                    <a:pt x="5342" y="2934"/>
                    <a:pt x="5342" y="2934"/>
                  </a:cubicBezTo>
                  <a:cubicBezTo>
                    <a:pt x="5350" y="2915"/>
                    <a:pt x="5350" y="2915"/>
                    <a:pt x="5350" y="2915"/>
                  </a:cubicBezTo>
                  <a:cubicBezTo>
                    <a:pt x="5380" y="2928"/>
                    <a:pt x="5380" y="2928"/>
                    <a:pt x="5380" y="2928"/>
                  </a:cubicBezTo>
                  <a:cubicBezTo>
                    <a:pt x="5366" y="2935"/>
                    <a:pt x="5366" y="2935"/>
                    <a:pt x="5366" y="2935"/>
                  </a:cubicBezTo>
                  <a:cubicBezTo>
                    <a:pt x="5368" y="2925"/>
                    <a:pt x="5368" y="2925"/>
                    <a:pt x="5368" y="2925"/>
                  </a:cubicBezTo>
                  <a:cubicBezTo>
                    <a:pt x="5370" y="2915"/>
                    <a:pt x="5370" y="2915"/>
                    <a:pt x="5370" y="2915"/>
                  </a:cubicBezTo>
                  <a:cubicBezTo>
                    <a:pt x="5370" y="2908"/>
                    <a:pt x="5371" y="2901"/>
                    <a:pt x="5371" y="2894"/>
                  </a:cubicBezTo>
                  <a:cubicBezTo>
                    <a:pt x="5371" y="2887"/>
                    <a:pt x="5371" y="2881"/>
                    <a:pt x="5370" y="2874"/>
                  </a:cubicBezTo>
                  <a:cubicBezTo>
                    <a:pt x="5370" y="2870"/>
                    <a:pt x="5370" y="2867"/>
                    <a:pt x="5370" y="2863"/>
                  </a:cubicBezTo>
                  <a:cubicBezTo>
                    <a:pt x="5369" y="2860"/>
                    <a:pt x="5369" y="2856"/>
                    <a:pt x="5369" y="2853"/>
                  </a:cubicBezTo>
                  <a:cubicBezTo>
                    <a:pt x="5368" y="2846"/>
                    <a:pt x="5367" y="2839"/>
                    <a:pt x="5366" y="2832"/>
                  </a:cubicBezTo>
                  <a:cubicBezTo>
                    <a:pt x="5365" y="2825"/>
                    <a:pt x="5364" y="2818"/>
                    <a:pt x="5363" y="2812"/>
                  </a:cubicBezTo>
                  <a:cubicBezTo>
                    <a:pt x="5360" y="2798"/>
                    <a:pt x="5357" y="2784"/>
                    <a:pt x="5354" y="2770"/>
                  </a:cubicBezTo>
                  <a:cubicBezTo>
                    <a:pt x="5348" y="2742"/>
                    <a:pt x="5342" y="2715"/>
                    <a:pt x="5336" y="2686"/>
                  </a:cubicBezTo>
                  <a:cubicBezTo>
                    <a:pt x="5333" y="2672"/>
                    <a:pt x="5331" y="2658"/>
                    <a:pt x="5329" y="2644"/>
                  </a:cubicBezTo>
                  <a:cubicBezTo>
                    <a:pt x="5328" y="2637"/>
                    <a:pt x="5327" y="2629"/>
                    <a:pt x="5326" y="2622"/>
                  </a:cubicBezTo>
                  <a:cubicBezTo>
                    <a:pt x="5325" y="2611"/>
                    <a:pt x="5325" y="2611"/>
                    <a:pt x="5325" y="2611"/>
                  </a:cubicBezTo>
                  <a:cubicBezTo>
                    <a:pt x="5325" y="2601"/>
                    <a:pt x="5325" y="2601"/>
                    <a:pt x="5325" y="2601"/>
                  </a:cubicBezTo>
                  <a:cubicBezTo>
                    <a:pt x="5325" y="2600"/>
                    <a:pt x="5325" y="2600"/>
                    <a:pt x="5325" y="2600"/>
                  </a:cubicBezTo>
                  <a:cubicBezTo>
                    <a:pt x="5325" y="2599"/>
                    <a:pt x="5325" y="2599"/>
                    <a:pt x="5325" y="2599"/>
                  </a:cubicBezTo>
                  <a:cubicBezTo>
                    <a:pt x="5325" y="2597"/>
                    <a:pt x="5325" y="2596"/>
                    <a:pt x="5325" y="2594"/>
                  </a:cubicBezTo>
                  <a:cubicBezTo>
                    <a:pt x="5325" y="2592"/>
                    <a:pt x="5325" y="2591"/>
                    <a:pt x="5325" y="2589"/>
                  </a:cubicBezTo>
                  <a:cubicBezTo>
                    <a:pt x="5325" y="2585"/>
                    <a:pt x="5325" y="2582"/>
                    <a:pt x="5325" y="2578"/>
                  </a:cubicBezTo>
                  <a:cubicBezTo>
                    <a:pt x="5324" y="2570"/>
                    <a:pt x="5324" y="2563"/>
                    <a:pt x="5324" y="2555"/>
                  </a:cubicBezTo>
                  <a:cubicBezTo>
                    <a:pt x="5324" y="2540"/>
                    <a:pt x="5324" y="2524"/>
                    <a:pt x="5328" y="2508"/>
                  </a:cubicBezTo>
                  <a:cubicBezTo>
                    <a:pt x="5328" y="2509"/>
                    <a:pt x="5328" y="2509"/>
                    <a:pt x="5328" y="2509"/>
                  </a:cubicBezTo>
                  <a:cubicBezTo>
                    <a:pt x="5332" y="2473"/>
                    <a:pt x="5332" y="2473"/>
                    <a:pt x="5332" y="2473"/>
                  </a:cubicBezTo>
                  <a:cubicBezTo>
                    <a:pt x="5334" y="2456"/>
                    <a:pt x="5334" y="2456"/>
                    <a:pt x="5334" y="2456"/>
                  </a:cubicBezTo>
                  <a:cubicBezTo>
                    <a:pt x="5335" y="2447"/>
                    <a:pt x="5335" y="2447"/>
                    <a:pt x="5335" y="2447"/>
                  </a:cubicBezTo>
                  <a:cubicBezTo>
                    <a:pt x="5336" y="2438"/>
                    <a:pt x="5336" y="2438"/>
                    <a:pt x="5336" y="2438"/>
                  </a:cubicBezTo>
                  <a:cubicBezTo>
                    <a:pt x="5346" y="2367"/>
                    <a:pt x="5346" y="2367"/>
                    <a:pt x="5346" y="2367"/>
                  </a:cubicBezTo>
                  <a:cubicBezTo>
                    <a:pt x="5365" y="2225"/>
                    <a:pt x="5365" y="2225"/>
                    <a:pt x="5365" y="2225"/>
                  </a:cubicBezTo>
                  <a:cubicBezTo>
                    <a:pt x="5365" y="2228"/>
                    <a:pt x="5365" y="2228"/>
                    <a:pt x="5365" y="2228"/>
                  </a:cubicBezTo>
                  <a:cubicBezTo>
                    <a:pt x="5356" y="2184"/>
                    <a:pt x="5346" y="2139"/>
                    <a:pt x="5333" y="2096"/>
                  </a:cubicBezTo>
                  <a:cubicBezTo>
                    <a:pt x="5320" y="2053"/>
                    <a:pt x="5304" y="2011"/>
                    <a:pt x="5285" y="1970"/>
                  </a:cubicBezTo>
                  <a:cubicBezTo>
                    <a:pt x="5266" y="1929"/>
                    <a:pt x="5244" y="1889"/>
                    <a:pt x="5220" y="1851"/>
                  </a:cubicBezTo>
                  <a:cubicBezTo>
                    <a:pt x="5214" y="1841"/>
                    <a:pt x="5208" y="1832"/>
                    <a:pt x="5202" y="1823"/>
                  </a:cubicBezTo>
                  <a:cubicBezTo>
                    <a:pt x="5195" y="1813"/>
                    <a:pt x="5189" y="1804"/>
                    <a:pt x="5182" y="1795"/>
                  </a:cubicBezTo>
                  <a:cubicBezTo>
                    <a:pt x="5176" y="1785"/>
                    <a:pt x="5169" y="1776"/>
                    <a:pt x="5162" y="1767"/>
                  </a:cubicBezTo>
                  <a:cubicBezTo>
                    <a:pt x="5156" y="1758"/>
                    <a:pt x="5149" y="1749"/>
                    <a:pt x="5142" y="1741"/>
                  </a:cubicBezTo>
                  <a:cubicBezTo>
                    <a:pt x="5113" y="1705"/>
                    <a:pt x="5083" y="1672"/>
                    <a:pt x="5051" y="1639"/>
                  </a:cubicBezTo>
                  <a:cubicBezTo>
                    <a:pt x="5019" y="1607"/>
                    <a:pt x="4986" y="1577"/>
                    <a:pt x="4951" y="1548"/>
                  </a:cubicBezTo>
                  <a:cubicBezTo>
                    <a:pt x="4916" y="1519"/>
                    <a:pt x="4880" y="1492"/>
                    <a:pt x="4843" y="1466"/>
                  </a:cubicBezTo>
                  <a:cubicBezTo>
                    <a:pt x="4805" y="1440"/>
                    <a:pt x="4767" y="1416"/>
                    <a:pt x="4727" y="1394"/>
                  </a:cubicBezTo>
                  <a:cubicBezTo>
                    <a:pt x="4649" y="1349"/>
                    <a:pt x="4566" y="1310"/>
                    <a:pt x="4482" y="1277"/>
                  </a:cubicBezTo>
                  <a:cubicBezTo>
                    <a:pt x="4397" y="1244"/>
                    <a:pt x="4310" y="1217"/>
                    <a:pt x="4222" y="1196"/>
                  </a:cubicBezTo>
                  <a:cubicBezTo>
                    <a:pt x="4134" y="1174"/>
                    <a:pt x="4045" y="1158"/>
                    <a:pt x="3954" y="1148"/>
                  </a:cubicBezTo>
                  <a:cubicBezTo>
                    <a:pt x="3909" y="1143"/>
                    <a:pt x="3864" y="1139"/>
                    <a:pt x="3819" y="1136"/>
                  </a:cubicBezTo>
                  <a:cubicBezTo>
                    <a:pt x="3773" y="1134"/>
                    <a:pt x="3728" y="1133"/>
                    <a:pt x="3683" y="1133"/>
                  </a:cubicBezTo>
                  <a:cubicBezTo>
                    <a:pt x="3409" y="1137"/>
                    <a:pt x="3409" y="1137"/>
                    <a:pt x="3409" y="1137"/>
                  </a:cubicBezTo>
                  <a:cubicBezTo>
                    <a:pt x="3375" y="1138"/>
                    <a:pt x="3375" y="1138"/>
                    <a:pt x="3375" y="1138"/>
                  </a:cubicBezTo>
                  <a:cubicBezTo>
                    <a:pt x="3358" y="1138"/>
                    <a:pt x="3358" y="1138"/>
                    <a:pt x="3358" y="1138"/>
                  </a:cubicBezTo>
                  <a:cubicBezTo>
                    <a:pt x="3354" y="1138"/>
                    <a:pt x="3354" y="1138"/>
                    <a:pt x="3354" y="1138"/>
                  </a:cubicBezTo>
                  <a:cubicBezTo>
                    <a:pt x="3352" y="1138"/>
                    <a:pt x="3352" y="1138"/>
                    <a:pt x="3352" y="1138"/>
                  </a:cubicBezTo>
                  <a:cubicBezTo>
                    <a:pt x="3350" y="1138"/>
                    <a:pt x="3350" y="1138"/>
                    <a:pt x="3350" y="1138"/>
                  </a:cubicBezTo>
                  <a:cubicBezTo>
                    <a:pt x="3341" y="1138"/>
                    <a:pt x="3341" y="1138"/>
                    <a:pt x="3341" y="1138"/>
                  </a:cubicBezTo>
                  <a:cubicBezTo>
                    <a:pt x="3318" y="1138"/>
                    <a:pt x="3296" y="1138"/>
                    <a:pt x="3273" y="1138"/>
                  </a:cubicBezTo>
                  <a:cubicBezTo>
                    <a:pt x="3227" y="1138"/>
                    <a:pt x="3182" y="1139"/>
                    <a:pt x="3136" y="1138"/>
                  </a:cubicBezTo>
                  <a:cubicBezTo>
                    <a:pt x="3090" y="1137"/>
                    <a:pt x="3045" y="1136"/>
                    <a:pt x="2999" y="1132"/>
                  </a:cubicBezTo>
                  <a:cubicBezTo>
                    <a:pt x="2954" y="1129"/>
                    <a:pt x="2908" y="1124"/>
                    <a:pt x="2863" y="1115"/>
                  </a:cubicBezTo>
                  <a:cubicBezTo>
                    <a:pt x="2841" y="1110"/>
                    <a:pt x="2818" y="1105"/>
                    <a:pt x="2796" y="1097"/>
                  </a:cubicBezTo>
                  <a:cubicBezTo>
                    <a:pt x="2774" y="1090"/>
                    <a:pt x="2753" y="1081"/>
                    <a:pt x="2733" y="1070"/>
                  </a:cubicBezTo>
                  <a:cubicBezTo>
                    <a:pt x="2730" y="1068"/>
                    <a:pt x="2728" y="1067"/>
                    <a:pt x="2725" y="1065"/>
                  </a:cubicBezTo>
                  <a:cubicBezTo>
                    <a:pt x="2723" y="1064"/>
                    <a:pt x="2720" y="1062"/>
                    <a:pt x="2718" y="1061"/>
                  </a:cubicBezTo>
                  <a:cubicBezTo>
                    <a:pt x="2711" y="1055"/>
                    <a:pt x="2711" y="1055"/>
                    <a:pt x="2711" y="1055"/>
                  </a:cubicBezTo>
                  <a:cubicBezTo>
                    <a:pt x="2708" y="1054"/>
                    <a:pt x="2706" y="1052"/>
                    <a:pt x="2704" y="1050"/>
                  </a:cubicBezTo>
                  <a:cubicBezTo>
                    <a:pt x="2701" y="1048"/>
                    <a:pt x="2701" y="1048"/>
                    <a:pt x="2701" y="1048"/>
                  </a:cubicBezTo>
                  <a:cubicBezTo>
                    <a:pt x="2697" y="1045"/>
                    <a:pt x="2697" y="1045"/>
                    <a:pt x="2697" y="1045"/>
                  </a:cubicBezTo>
                  <a:cubicBezTo>
                    <a:pt x="2691" y="1039"/>
                    <a:pt x="2691" y="1039"/>
                    <a:pt x="2691" y="1039"/>
                  </a:cubicBezTo>
                  <a:cubicBezTo>
                    <a:pt x="2688" y="1037"/>
                    <a:pt x="2687" y="1034"/>
                    <a:pt x="2685" y="1032"/>
                  </a:cubicBezTo>
                  <a:cubicBezTo>
                    <a:pt x="2683" y="1030"/>
                    <a:pt x="2680" y="1028"/>
                    <a:pt x="2679" y="1025"/>
                  </a:cubicBezTo>
                  <a:cubicBezTo>
                    <a:pt x="2664" y="1007"/>
                    <a:pt x="2653" y="986"/>
                    <a:pt x="2648" y="962"/>
                  </a:cubicBezTo>
                  <a:cubicBezTo>
                    <a:pt x="2643" y="939"/>
                    <a:pt x="2644" y="915"/>
                    <a:pt x="2650" y="892"/>
                  </a:cubicBezTo>
                  <a:cubicBezTo>
                    <a:pt x="2652" y="887"/>
                    <a:pt x="2654" y="881"/>
                    <a:pt x="2657" y="876"/>
                  </a:cubicBezTo>
                  <a:cubicBezTo>
                    <a:pt x="2658" y="873"/>
                    <a:pt x="2659" y="870"/>
                    <a:pt x="2660" y="867"/>
                  </a:cubicBezTo>
                  <a:cubicBezTo>
                    <a:pt x="2665" y="860"/>
                    <a:pt x="2665" y="860"/>
                    <a:pt x="2665" y="860"/>
                  </a:cubicBezTo>
                  <a:cubicBezTo>
                    <a:pt x="2671" y="850"/>
                    <a:pt x="2678" y="841"/>
                    <a:pt x="2687" y="832"/>
                  </a:cubicBezTo>
                  <a:cubicBezTo>
                    <a:pt x="2695" y="824"/>
                    <a:pt x="2704" y="816"/>
                    <a:pt x="2713" y="810"/>
                  </a:cubicBezTo>
                  <a:cubicBezTo>
                    <a:pt x="2723" y="803"/>
                    <a:pt x="2732" y="796"/>
                    <a:pt x="2742" y="791"/>
                  </a:cubicBezTo>
                  <a:cubicBezTo>
                    <a:pt x="2762" y="779"/>
                    <a:pt x="2783" y="770"/>
                    <a:pt x="2804" y="761"/>
                  </a:cubicBezTo>
                  <a:cubicBezTo>
                    <a:pt x="2847" y="743"/>
                    <a:pt x="2890" y="729"/>
                    <a:pt x="2934" y="717"/>
                  </a:cubicBezTo>
                  <a:cubicBezTo>
                    <a:pt x="2978" y="704"/>
                    <a:pt x="3023" y="693"/>
                    <a:pt x="3067" y="683"/>
                  </a:cubicBezTo>
                  <a:cubicBezTo>
                    <a:pt x="3089" y="677"/>
                    <a:pt x="3111" y="672"/>
                    <a:pt x="3133" y="667"/>
                  </a:cubicBezTo>
                  <a:cubicBezTo>
                    <a:pt x="3155" y="661"/>
                    <a:pt x="3177" y="655"/>
                    <a:pt x="3199" y="649"/>
                  </a:cubicBezTo>
                  <a:cubicBezTo>
                    <a:pt x="3242" y="635"/>
                    <a:pt x="3285" y="620"/>
                    <a:pt x="3325" y="600"/>
                  </a:cubicBezTo>
                  <a:cubicBezTo>
                    <a:pt x="3346" y="590"/>
                    <a:pt x="3365" y="578"/>
                    <a:pt x="3383" y="565"/>
                  </a:cubicBezTo>
                  <a:cubicBezTo>
                    <a:pt x="3401" y="552"/>
                    <a:pt x="3418" y="537"/>
                    <a:pt x="3433" y="520"/>
                  </a:cubicBezTo>
                  <a:cubicBezTo>
                    <a:pt x="3440" y="511"/>
                    <a:pt x="3446" y="502"/>
                    <a:pt x="3452" y="492"/>
                  </a:cubicBezTo>
                  <a:cubicBezTo>
                    <a:pt x="3453" y="490"/>
                    <a:pt x="3454" y="487"/>
                    <a:pt x="3456" y="485"/>
                  </a:cubicBezTo>
                  <a:cubicBezTo>
                    <a:pt x="3457" y="482"/>
                    <a:pt x="3458" y="480"/>
                    <a:pt x="3459" y="477"/>
                  </a:cubicBezTo>
                  <a:cubicBezTo>
                    <a:pt x="3463" y="470"/>
                    <a:pt x="3463" y="470"/>
                    <a:pt x="3463" y="470"/>
                  </a:cubicBezTo>
                  <a:cubicBezTo>
                    <a:pt x="3464" y="467"/>
                    <a:pt x="3465" y="464"/>
                    <a:pt x="3466" y="462"/>
                  </a:cubicBezTo>
                  <a:cubicBezTo>
                    <a:pt x="3473" y="441"/>
                    <a:pt x="3478" y="419"/>
                    <a:pt x="3477" y="397"/>
                  </a:cubicBezTo>
                  <a:cubicBezTo>
                    <a:pt x="3477" y="397"/>
                    <a:pt x="3477" y="397"/>
                    <a:pt x="3477" y="397"/>
                  </a:cubicBezTo>
                  <a:cubicBezTo>
                    <a:pt x="3471" y="360"/>
                    <a:pt x="3456" y="325"/>
                    <a:pt x="3433" y="295"/>
                  </a:cubicBezTo>
                  <a:cubicBezTo>
                    <a:pt x="3411" y="265"/>
                    <a:pt x="3381" y="241"/>
                    <a:pt x="3350" y="221"/>
                  </a:cubicBezTo>
                  <a:cubicBezTo>
                    <a:pt x="3318" y="201"/>
                    <a:pt x="3283" y="186"/>
                    <a:pt x="3248" y="173"/>
                  </a:cubicBezTo>
                  <a:cubicBezTo>
                    <a:pt x="3212" y="160"/>
                    <a:pt x="3176" y="149"/>
                    <a:pt x="3139" y="139"/>
                  </a:cubicBezTo>
                  <a:cubicBezTo>
                    <a:pt x="3121" y="134"/>
                    <a:pt x="3103" y="129"/>
                    <a:pt x="3084" y="125"/>
                  </a:cubicBezTo>
                  <a:cubicBezTo>
                    <a:pt x="3029" y="110"/>
                    <a:pt x="3029" y="110"/>
                    <a:pt x="3029" y="110"/>
                  </a:cubicBezTo>
                  <a:cubicBezTo>
                    <a:pt x="3022" y="108"/>
                    <a:pt x="3022" y="108"/>
                    <a:pt x="3022" y="108"/>
                  </a:cubicBezTo>
                  <a:cubicBezTo>
                    <a:pt x="3019" y="108"/>
                    <a:pt x="3019" y="108"/>
                    <a:pt x="3019" y="108"/>
                  </a:cubicBezTo>
                  <a:cubicBezTo>
                    <a:pt x="3018" y="107"/>
                    <a:pt x="3017" y="107"/>
                    <a:pt x="3016" y="107"/>
                  </a:cubicBezTo>
                  <a:cubicBezTo>
                    <a:pt x="3002" y="104"/>
                    <a:pt x="3002" y="104"/>
                    <a:pt x="3002" y="104"/>
                  </a:cubicBezTo>
                  <a:cubicBezTo>
                    <a:pt x="2992" y="102"/>
                    <a:pt x="2983" y="101"/>
                    <a:pt x="2974" y="99"/>
                  </a:cubicBezTo>
                  <a:cubicBezTo>
                    <a:pt x="2955" y="96"/>
                    <a:pt x="2936" y="92"/>
                    <a:pt x="2918" y="89"/>
                  </a:cubicBezTo>
                  <a:cubicBezTo>
                    <a:pt x="2843" y="77"/>
                    <a:pt x="2767" y="68"/>
                    <a:pt x="2692" y="59"/>
                  </a:cubicBezTo>
                  <a:cubicBezTo>
                    <a:pt x="2466" y="32"/>
                    <a:pt x="2466" y="32"/>
                    <a:pt x="2466" y="32"/>
                  </a:cubicBezTo>
                  <a:cubicBezTo>
                    <a:pt x="2391" y="23"/>
                    <a:pt x="2315" y="16"/>
                    <a:pt x="2239" y="11"/>
                  </a:cubicBezTo>
                  <a:cubicBezTo>
                    <a:pt x="2201" y="8"/>
                    <a:pt x="2164" y="6"/>
                    <a:pt x="2126" y="5"/>
                  </a:cubicBezTo>
                  <a:cubicBezTo>
                    <a:pt x="2116" y="5"/>
                    <a:pt x="2107" y="5"/>
                    <a:pt x="2097" y="5"/>
                  </a:cubicBezTo>
                  <a:cubicBezTo>
                    <a:pt x="2069" y="5"/>
                    <a:pt x="2069" y="5"/>
                    <a:pt x="2069" y="5"/>
                  </a:cubicBezTo>
                  <a:cubicBezTo>
                    <a:pt x="2040" y="5"/>
                    <a:pt x="2040" y="5"/>
                    <a:pt x="2040" y="5"/>
                  </a:cubicBezTo>
                  <a:cubicBezTo>
                    <a:pt x="2031" y="5"/>
                    <a:pt x="2021" y="5"/>
                    <a:pt x="2012" y="5"/>
                  </a:cubicBezTo>
                  <a:cubicBezTo>
                    <a:pt x="1974" y="7"/>
                    <a:pt x="1936" y="9"/>
                    <a:pt x="1899" y="14"/>
                  </a:cubicBezTo>
                  <a:cubicBezTo>
                    <a:pt x="1880" y="16"/>
                    <a:pt x="1861" y="19"/>
                    <a:pt x="1842" y="22"/>
                  </a:cubicBezTo>
                  <a:cubicBezTo>
                    <a:pt x="1833" y="23"/>
                    <a:pt x="1823" y="24"/>
                    <a:pt x="1814" y="26"/>
                  </a:cubicBezTo>
                  <a:cubicBezTo>
                    <a:pt x="1786" y="30"/>
                    <a:pt x="1786" y="30"/>
                    <a:pt x="1786" y="30"/>
                  </a:cubicBezTo>
                  <a:cubicBezTo>
                    <a:pt x="1711" y="39"/>
                    <a:pt x="1636" y="53"/>
                    <a:pt x="1562" y="68"/>
                  </a:cubicBezTo>
                  <a:cubicBezTo>
                    <a:pt x="1524" y="75"/>
                    <a:pt x="1487" y="83"/>
                    <a:pt x="1450" y="91"/>
                  </a:cubicBezTo>
                  <a:cubicBezTo>
                    <a:pt x="1413" y="99"/>
                    <a:pt x="1376" y="107"/>
                    <a:pt x="1339" y="115"/>
                  </a:cubicBezTo>
                  <a:cubicBezTo>
                    <a:pt x="1190" y="145"/>
                    <a:pt x="1039" y="167"/>
                    <a:pt x="889" y="187"/>
                  </a:cubicBezTo>
                  <a:cubicBezTo>
                    <a:pt x="814" y="197"/>
                    <a:pt x="739" y="209"/>
                    <a:pt x="664" y="223"/>
                  </a:cubicBezTo>
                  <a:cubicBezTo>
                    <a:pt x="590" y="236"/>
                    <a:pt x="515" y="252"/>
                    <a:pt x="441" y="269"/>
                  </a:cubicBezTo>
                  <a:cubicBezTo>
                    <a:pt x="293" y="303"/>
                    <a:pt x="147" y="342"/>
                    <a:pt x="0" y="38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78"/>
            <p:cNvSpPr>
              <a:spLocks/>
            </p:cNvSpPr>
            <p:nvPr/>
          </p:nvSpPr>
          <p:spPr bwMode="auto">
            <a:xfrm>
              <a:off x="-3422098" y="1358747"/>
              <a:ext cx="8113161" cy="6254872"/>
            </a:xfrm>
            <a:custGeom>
              <a:avLst/>
              <a:gdLst>
                <a:gd name="T0" fmla="*/ 3362 w 4009"/>
                <a:gd name="T1" fmla="*/ 2800 h 3089"/>
                <a:gd name="T2" fmla="*/ 3933 w 4009"/>
                <a:gd name="T3" fmla="*/ 2056 h 3089"/>
                <a:gd name="T4" fmla="*/ 3966 w 4009"/>
                <a:gd name="T5" fmla="*/ 1971 h 3089"/>
                <a:gd name="T6" fmla="*/ 3988 w 4009"/>
                <a:gd name="T7" fmla="*/ 1880 h 3089"/>
                <a:gd name="T8" fmla="*/ 3992 w 4009"/>
                <a:gd name="T9" fmla="*/ 1785 h 3089"/>
                <a:gd name="T10" fmla="*/ 3986 w 4009"/>
                <a:gd name="T11" fmla="*/ 1737 h 3089"/>
                <a:gd name="T12" fmla="*/ 3958 w 4009"/>
                <a:gd name="T13" fmla="*/ 1653 h 3089"/>
                <a:gd name="T14" fmla="*/ 3916 w 4009"/>
                <a:gd name="T15" fmla="*/ 1585 h 3089"/>
                <a:gd name="T16" fmla="*/ 3861 w 4009"/>
                <a:gd name="T17" fmla="*/ 1526 h 3089"/>
                <a:gd name="T18" fmla="*/ 3797 w 4009"/>
                <a:gd name="T19" fmla="*/ 1474 h 3089"/>
                <a:gd name="T20" fmla="*/ 3743 w 4009"/>
                <a:gd name="T21" fmla="*/ 1440 h 3089"/>
                <a:gd name="T22" fmla="*/ 3715 w 4009"/>
                <a:gd name="T23" fmla="*/ 1425 h 3089"/>
                <a:gd name="T24" fmla="*/ 3347 w 4009"/>
                <a:gd name="T25" fmla="*/ 1334 h 3089"/>
                <a:gd name="T26" fmla="*/ 2229 w 4009"/>
                <a:gd name="T27" fmla="*/ 1207 h 3089"/>
                <a:gd name="T28" fmla="*/ 1885 w 4009"/>
                <a:gd name="T29" fmla="*/ 1008 h 3089"/>
                <a:gd name="T30" fmla="*/ 1861 w 4009"/>
                <a:gd name="T31" fmla="*/ 964 h 3089"/>
                <a:gd name="T32" fmla="*/ 1847 w 4009"/>
                <a:gd name="T33" fmla="*/ 830 h 3089"/>
                <a:gd name="T34" fmla="*/ 1874 w 4009"/>
                <a:gd name="T35" fmla="*/ 760 h 3089"/>
                <a:gd name="T36" fmla="*/ 1901 w 4009"/>
                <a:gd name="T37" fmla="*/ 719 h 3089"/>
                <a:gd name="T38" fmla="*/ 1969 w 4009"/>
                <a:gd name="T39" fmla="*/ 647 h 3089"/>
                <a:gd name="T40" fmla="*/ 2113 w 4009"/>
                <a:gd name="T41" fmla="*/ 556 h 3089"/>
                <a:gd name="T42" fmla="*/ 2814 w 4009"/>
                <a:gd name="T43" fmla="*/ 281 h 3089"/>
                <a:gd name="T44" fmla="*/ 2816 w 4009"/>
                <a:gd name="T45" fmla="*/ 204 h 3089"/>
                <a:gd name="T46" fmla="*/ 2710 w 4009"/>
                <a:gd name="T47" fmla="*/ 104 h 3089"/>
                <a:gd name="T48" fmla="*/ 1878 w 4009"/>
                <a:gd name="T49" fmla="*/ 17 h 3089"/>
                <a:gd name="T50" fmla="*/ 452 w 4009"/>
                <a:gd name="T51" fmla="*/ 116 h 3089"/>
                <a:gd name="T52" fmla="*/ 81 w 4009"/>
                <a:gd name="T53" fmla="*/ 269 h 3089"/>
                <a:gd name="T54" fmla="*/ 20 w 4009"/>
                <a:gd name="T55" fmla="*/ 304 h 3089"/>
                <a:gd name="T56" fmla="*/ 362 w 4009"/>
                <a:gd name="T57" fmla="*/ 144 h 3089"/>
                <a:gd name="T58" fmla="*/ 718 w 4009"/>
                <a:gd name="T59" fmla="*/ 54 h 3089"/>
                <a:gd name="T60" fmla="*/ 2400 w 4009"/>
                <a:gd name="T61" fmla="*/ 39 h 3089"/>
                <a:gd name="T62" fmla="*/ 2817 w 4009"/>
                <a:gd name="T63" fmla="*/ 191 h 3089"/>
                <a:gd name="T64" fmla="*/ 2826 w 4009"/>
                <a:gd name="T65" fmla="*/ 213 h 3089"/>
                <a:gd name="T66" fmla="*/ 2763 w 4009"/>
                <a:gd name="T67" fmla="*/ 344 h 3089"/>
                <a:gd name="T68" fmla="*/ 2117 w 4009"/>
                <a:gd name="T69" fmla="*/ 564 h 3089"/>
                <a:gd name="T70" fmla="*/ 1975 w 4009"/>
                <a:gd name="T71" fmla="*/ 655 h 3089"/>
                <a:gd name="T72" fmla="*/ 1908 w 4009"/>
                <a:gd name="T73" fmla="*/ 724 h 3089"/>
                <a:gd name="T74" fmla="*/ 1882 w 4009"/>
                <a:gd name="T75" fmla="*/ 765 h 3089"/>
                <a:gd name="T76" fmla="*/ 1857 w 4009"/>
                <a:gd name="T77" fmla="*/ 832 h 3089"/>
                <a:gd name="T78" fmla="*/ 1871 w 4009"/>
                <a:gd name="T79" fmla="*/ 960 h 3089"/>
                <a:gd name="T80" fmla="*/ 1894 w 4009"/>
                <a:gd name="T81" fmla="*/ 1002 h 3089"/>
                <a:gd name="T82" fmla="*/ 2232 w 4009"/>
                <a:gd name="T83" fmla="*/ 1196 h 3089"/>
                <a:gd name="T84" fmla="*/ 3349 w 4009"/>
                <a:gd name="T85" fmla="*/ 1320 h 3089"/>
                <a:gd name="T86" fmla="*/ 3732 w 4009"/>
                <a:gd name="T87" fmla="*/ 1417 h 3089"/>
                <a:gd name="T88" fmla="*/ 3769 w 4009"/>
                <a:gd name="T89" fmla="*/ 1438 h 3089"/>
                <a:gd name="T90" fmla="*/ 3822 w 4009"/>
                <a:gd name="T91" fmla="*/ 1474 h 3089"/>
                <a:gd name="T92" fmla="*/ 3887 w 4009"/>
                <a:gd name="T93" fmla="*/ 1529 h 3089"/>
                <a:gd name="T94" fmla="*/ 3941 w 4009"/>
                <a:gd name="T95" fmla="*/ 1593 h 3089"/>
                <a:gd name="T96" fmla="*/ 3981 w 4009"/>
                <a:gd name="T97" fmla="*/ 1665 h 3089"/>
                <a:gd name="T98" fmla="*/ 4004 w 4009"/>
                <a:gd name="T99" fmla="*/ 1743 h 3089"/>
                <a:gd name="T100" fmla="*/ 4009 w 4009"/>
                <a:gd name="T101" fmla="*/ 1803 h 3089"/>
                <a:gd name="T102" fmla="*/ 4001 w 4009"/>
                <a:gd name="T103" fmla="*/ 1901 h 3089"/>
                <a:gd name="T104" fmla="*/ 3979 w 4009"/>
                <a:gd name="T105" fmla="*/ 1985 h 3089"/>
                <a:gd name="T106" fmla="*/ 3881 w 4009"/>
                <a:gd name="T107" fmla="*/ 2191 h 3089"/>
                <a:gd name="T108" fmla="*/ 3276 w 4009"/>
                <a:gd name="T109" fmla="*/ 2926 h 3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09" h="3089">
                  <a:moveTo>
                    <a:pt x="3136" y="3079"/>
                  </a:moveTo>
                  <a:cubicBezTo>
                    <a:pt x="3136" y="3079"/>
                    <a:pt x="3140" y="3072"/>
                    <a:pt x="3148" y="3058"/>
                  </a:cubicBezTo>
                  <a:cubicBezTo>
                    <a:pt x="3157" y="3045"/>
                    <a:pt x="3171" y="3026"/>
                    <a:pt x="3190" y="3001"/>
                  </a:cubicBezTo>
                  <a:cubicBezTo>
                    <a:pt x="3208" y="2977"/>
                    <a:pt x="3232" y="2948"/>
                    <a:pt x="3261" y="2914"/>
                  </a:cubicBezTo>
                  <a:cubicBezTo>
                    <a:pt x="3290" y="2880"/>
                    <a:pt x="3324" y="2842"/>
                    <a:pt x="3362" y="2800"/>
                  </a:cubicBezTo>
                  <a:cubicBezTo>
                    <a:pt x="3400" y="2758"/>
                    <a:pt x="3443" y="2711"/>
                    <a:pt x="3489" y="2660"/>
                  </a:cubicBezTo>
                  <a:cubicBezTo>
                    <a:pt x="3535" y="2609"/>
                    <a:pt x="3584" y="2554"/>
                    <a:pt x="3635" y="2493"/>
                  </a:cubicBezTo>
                  <a:cubicBezTo>
                    <a:pt x="3686" y="2433"/>
                    <a:pt x="3739" y="2367"/>
                    <a:pt x="3791" y="2295"/>
                  </a:cubicBezTo>
                  <a:cubicBezTo>
                    <a:pt x="3816" y="2259"/>
                    <a:pt x="3842" y="2221"/>
                    <a:pt x="3866" y="2182"/>
                  </a:cubicBezTo>
                  <a:cubicBezTo>
                    <a:pt x="3890" y="2142"/>
                    <a:pt x="3913" y="2100"/>
                    <a:pt x="3933" y="2056"/>
                  </a:cubicBezTo>
                  <a:cubicBezTo>
                    <a:pt x="3937" y="2045"/>
                    <a:pt x="3942" y="2034"/>
                    <a:pt x="3947" y="2023"/>
                  </a:cubicBezTo>
                  <a:cubicBezTo>
                    <a:pt x="3949" y="2017"/>
                    <a:pt x="3951" y="2011"/>
                    <a:pt x="3954" y="2006"/>
                  </a:cubicBezTo>
                  <a:cubicBezTo>
                    <a:pt x="3956" y="2000"/>
                    <a:pt x="3958" y="1994"/>
                    <a:pt x="3960" y="1988"/>
                  </a:cubicBezTo>
                  <a:cubicBezTo>
                    <a:pt x="3963" y="1979"/>
                    <a:pt x="3963" y="1979"/>
                    <a:pt x="3963" y="1979"/>
                  </a:cubicBezTo>
                  <a:cubicBezTo>
                    <a:pt x="3966" y="1971"/>
                    <a:pt x="3966" y="1971"/>
                    <a:pt x="3966" y="1971"/>
                  </a:cubicBezTo>
                  <a:cubicBezTo>
                    <a:pt x="3968" y="1965"/>
                    <a:pt x="3969" y="1959"/>
                    <a:pt x="3971" y="1953"/>
                  </a:cubicBezTo>
                  <a:cubicBezTo>
                    <a:pt x="3973" y="1947"/>
                    <a:pt x="3974" y="1941"/>
                    <a:pt x="3976" y="1935"/>
                  </a:cubicBezTo>
                  <a:cubicBezTo>
                    <a:pt x="3978" y="1929"/>
                    <a:pt x="3979" y="1923"/>
                    <a:pt x="3981" y="1917"/>
                  </a:cubicBezTo>
                  <a:cubicBezTo>
                    <a:pt x="3982" y="1911"/>
                    <a:pt x="3983" y="1904"/>
                    <a:pt x="3984" y="1898"/>
                  </a:cubicBezTo>
                  <a:cubicBezTo>
                    <a:pt x="3986" y="1892"/>
                    <a:pt x="3987" y="1886"/>
                    <a:pt x="3988" y="1880"/>
                  </a:cubicBezTo>
                  <a:cubicBezTo>
                    <a:pt x="3990" y="1867"/>
                    <a:pt x="3991" y="1855"/>
                    <a:pt x="3992" y="1842"/>
                  </a:cubicBezTo>
                  <a:cubicBezTo>
                    <a:pt x="3992" y="1836"/>
                    <a:pt x="3993" y="1829"/>
                    <a:pt x="3993" y="1823"/>
                  </a:cubicBezTo>
                  <a:cubicBezTo>
                    <a:pt x="3993" y="1813"/>
                    <a:pt x="3993" y="1813"/>
                    <a:pt x="3993" y="1813"/>
                  </a:cubicBezTo>
                  <a:cubicBezTo>
                    <a:pt x="3993" y="1804"/>
                    <a:pt x="3993" y="1804"/>
                    <a:pt x="3993" y="1804"/>
                  </a:cubicBezTo>
                  <a:cubicBezTo>
                    <a:pt x="3993" y="1797"/>
                    <a:pt x="3993" y="1791"/>
                    <a:pt x="3992" y="1785"/>
                  </a:cubicBezTo>
                  <a:cubicBezTo>
                    <a:pt x="3992" y="1778"/>
                    <a:pt x="3991" y="1772"/>
                    <a:pt x="3991" y="1765"/>
                  </a:cubicBezTo>
                  <a:cubicBezTo>
                    <a:pt x="3990" y="1761"/>
                    <a:pt x="3990" y="1761"/>
                    <a:pt x="3990" y="1761"/>
                  </a:cubicBezTo>
                  <a:cubicBezTo>
                    <a:pt x="3989" y="1756"/>
                    <a:pt x="3989" y="1756"/>
                    <a:pt x="3989" y="1756"/>
                  </a:cubicBezTo>
                  <a:cubicBezTo>
                    <a:pt x="3988" y="1746"/>
                    <a:pt x="3988" y="1746"/>
                    <a:pt x="3988" y="1746"/>
                  </a:cubicBezTo>
                  <a:cubicBezTo>
                    <a:pt x="3986" y="1737"/>
                    <a:pt x="3986" y="1737"/>
                    <a:pt x="3986" y="1737"/>
                  </a:cubicBezTo>
                  <a:cubicBezTo>
                    <a:pt x="3986" y="1733"/>
                    <a:pt x="3985" y="1730"/>
                    <a:pt x="3984" y="1727"/>
                  </a:cubicBezTo>
                  <a:cubicBezTo>
                    <a:pt x="3982" y="1721"/>
                    <a:pt x="3981" y="1715"/>
                    <a:pt x="3979" y="1708"/>
                  </a:cubicBezTo>
                  <a:cubicBezTo>
                    <a:pt x="3977" y="1702"/>
                    <a:pt x="3975" y="1696"/>
                    <a:pt x="3973" y="1690"/>
                  </a:cubicBezTo>
                  <a:cubicBezTo>
                    <a:pt x="3971" y="1683"/>
                    <a:pt x="3969" y="1677"/>
                    <a:pt x="3966" y="1671"/>
                  </a:cubicBezTo>
                  <a:cubicBezTo>
                    <a:pt x="3964" y="1665"/>
                    <a:pt x="3961" y="1659"/>
                    <a:pt x="3958" y="1653"/>
                  </a:cubicBezTo>
                  <a:cubicBezTo>
                    <a:pt x="3955" y="1647"/>
                    <a:pt x="3952" y="1641"/>
                    <a:pt x="3949" y="1636"/>
                  </a:cubicBezTo>
                  <a:cubicBezTo>
                    <a:pt x="3946" y="1630"/>
                    <a:pt x="3942" y="1624"/>
                    <a:pt x="3939" y="1618"/>
                  </a:cubicBezTo>
                  <a:cubicBezTo>
                    <a:pt x="3937" y="1616"/>
                    <a:pt x="3936" y="1613"/>
                    <a:pt x="3934" y="1610"/>
                  </a:cubicBezTo>
                  <a:cubicBezTo>
                    <a:pt x="3928" y="1602"/>
                    <a:pt x="3928" y="1602"/>
                    <a:pt x="3928" y="1602"/>
                  </a:cubicBezTo>
                  <a:cubicBezTo>
                    <a:pt x="3924" y="1596"/>
                    <a:pt x="3921" y="1591"/>
                    <a:pt x="3916" y="1585"/>
                  </a:cubicBezTo>
                  <a:cubicBezTo>
                    <a:pt x="3912" y="1580"/>
                    <a:pt x="3908" y="1575"/>
                    <a:pt x="3904" y="1570"/>
                  </a:cubicBezTo>
                  <a:cubicBezTo>
                    <a:pt x="3901" y="1567"/>
                    <a:pt x="3899" y="1564"/>
                    <a:pt x="3897" y="1562"/>
                  </a:cubicBezTo>
                  <a:cubicBezTo>
                    <a:pt x="3890" y="1555"/>
                    <a:pt x="3890" y="1555"/>
                    <a:pt x="3890" y="1555"/>
                  </a:cubicBezTo>
                  <a:cubicBezTo>
                    <a:pt x="3885" y="1550"/>
                    <a:pt x="3881" y="1545"/>
                    <a:pt x="3876" y="1540"/>
                  </a:cubicBezTo>
                  <a:cubicBezTo>
                    <a:pt x="3871" y="1535"/>
                    <a:pt x="3866" y="1530"/>
                    <a:pt x="3861" y="1526"/>
                  </a:cubicBezTo>
                  <a:cubicBezTo>
                    <a:pt x="3854" y="1519"/>
                    <a:pt x="3854" y="1519"/>
                    <a:pt x="3854" y="1519"/>
                  </a:cubicBezTo>
                  <a:cubicBezTo>
                    <a:pt x="3851" y="1516"/>
                    <a:pt x="3848" y="1514"/>
                    <a:pt x="3846" y="1512"/>
                  </a:cubicBezTo>
                  <a:cubicBezTo>
                    <a:pt x="3841" y="1508"/>
                    <a:pt x="3835" y="1503"/>
                    <a:pt x="3830" y="1499"/>
                  </a:cubicBezTo>
                  <a:cubicBezTo>
                    <a:pt x="3825" y="1494"/>
                    <a:pt x="3819" y="1491"/>
                    <a:pt x="3813" y="1486"/>
                  </a:cubicBezTo>
                  <a:cubicBezTo>
                    <a:pt x="3808" y="1482"/>
                    <a:pt x="3802" y="1478"/>
                    <a:pt x="3797" y="1474"/>
                  </a:cubicBezTo>
                  <a:cubicBezTo>
                    <a:pt x="3791" y="1470"/>
                    <a:pt x="3785" y="1466"/>
                    <a:pt x="3779" y="1463"/>
                  </a:cubicBezTo>
                  <a:cubicBezTo>
                    <a:pt x="3770" y="1457"/>
                    <a:pt x="3770" y="1457"/>
                    <a:pt x="3770" y="1457"/>
                  </a:cubicBezTo>
                  <a:cubicBezTo>
                    <a:pt x="3766" y="1454"/>
                    <a:pt x="3766" y="1454"/>
                    <a:pt x="3766" y="1454"/>
                  </a:cubicBezTo>
                  <a:cubicBezTo>
                    <a:pt x="3761" y="1451"/>
                    <a:pt x="3761" y="1451"/>
                    <a:pt x="3761" y="1451"/>
                  </a:cubicBezTo>
                  <a:cubicBezTo>
                    <a:pt x="3755" y="1448"/>
                    <a:pt x="3749" y="1444"/>
                    <a:pt x="3743" y="1440"/>
                  </a:cubicBezTo>
                  <a:cubicBezTo>
                    <a:pt x="3734" y="1435"/>
                    <a:pt x="3734" y="1435"/>
                    <a:pt x="3734" y="1435"/>
                  </a:cubicBezTo>
                  <a:cubicBezTo>
                    <a:pt x="3732" y="1434"/>
                    <a:pt x="3732" y="1434"/>
                    <a:pt x="3732" y="1434"/>
                  </a:cubicBezTo>
                  <a:cubicBezTo>
                    <a:pt x="3730" y="1432"/>
                    <a:pt x="3730" y="1432"/>
                    <a:pt x="3730" y="1432"/>
                  </a:cubicBezTo>
                  <a:cubicBezTo>
                    <a:pt x="3725" y="1430"/>
                    <a:pt x="3725" y="1430"/>
                    <a:pt x="3725" y="1430"/>
                  </a:cubicBezTo>
                  <a:cubicBezTo>
                    <a:pt x="3715" y="1425"/>
                    <a:pt x="3715" y="1425"/>
                    <a:pt x="3715" y="1425"/>
                  </a:cubicBezTo>
                  <a:cubicBezTo>
                    <a:pt x="3706" y="1420"/>
                    <a:pt x="3706" y="1420"/>
                    <a:pt x="3706" y="1420"/>
                  </a:cubicBezTo>
                  <a:cubicBezTo>
                    <a:pt x="3700" y="1417"/>
                    <a:pt x="3693" y="1414"/>
                    <a:pt x="3687" y="1411"/>
                  </a:cubicBezTo>
                  <a:cubicBezTo>
                    <a:pt x="3635" y="1388"/>
                    <a:pt x="3579" y="1372"/>
                    <a:pt x="3522" y="1360"/>
                  </a:cubicBezTo>
                  <a:cubicBezTo>
                    <a:pt x="3494" y="1354"/>
                    <a:pt x="3465" y="1349"/>
                    <a:pt x="3436" y="1345"/>
                  </a:cubicBezTo>
                  <a:cubicBezTo>
                    <a:pt x="3406" y="1340"/>
                    <a:pt x="3377" y="1337"/>
                    <a:pt x="3347" y="1334"/>
                  </a:cubicBezTo>
                  <a:cubicBezTo>
                    <a:pt x="3288" y="1328"/>
                    <a:pt x="3227" y="1323"/>
                    <a:pt x="3167" y="1319"/>
                  </a:cubicBezTo>
                  <a:cubicBezTo>
                    <a:pt x="3045" y="1312"/>
                    <a:pt x="2921" y="1307"/>
                    <a:pt x="2795" y="1298"/>
                  </a:cubicBezTo>
                  <a:cubicBezTo>
                    <a:pt x="2733" y="1293"/>
                    <a:pt x="2670" y="1288"/>
                    <a:pt x="2607" y="1279"/>
                  </a:cubicBezTo>
                  <a:cubicBezTo>
                    <a:pt x="2544" y="1271"/>
                    <a:pt x="2480" y="1262"/>
                    <a:pt x="2417" y="1250"/>
                  </a:cubicBezTo>
                  <a:cubicBezTo>
                    <a:pt x="2354" y="1239"/>
                    <a:pt x="2291" y="1225"/>
                    <a:pt x="2229" y="1207"/>
                  </a:cubicBezTo>
                  <a:cubicBezTo>
                    <a:pt x="2197" y="1198"/>
                    <a:pt x="2167" y="1188"/>
                    <a:pt x="2136" y="1177"/>
                  </a:cubicBezTo>
                  <a:cubicBezTo>
                    <a:pt x="2106" y="1165"/>
                    <a:pt x="2076" y="1153"/>
                    <a:pt x="2046" y="1138"/>
                  </a:cubicBezTo>
                  <a:cubicBezTo>
                    <a:pt x="2017" y="1123"/>
                    <a:pt x="1989" y="1106"/>
                    <a:pt x="1963" y="1087"/>
                  </a:cubicBezTo>
                  <a:cubicBezTo>
                    <a:pt x="1937" y="1067"/>
                    <a:pt x="1912" y="1044"/>
                    <a:pt x="1892" y="1018"/>
                  </a:cubicBezTo>
                  <a:cubicBezTo>
                    <a:pt x="1885" y="1008"/>
                    <a:pt x="1885" y="1008"/>
                    <a:pt x="1885" y="1008"/>
                  </a:cubicBezTo>
                  <a:cubicBezTo>
                    <a:pt x="1883" y="1004"/>
                    <a:pt x="1880" y="1001"/>
                    <a:pt x="1878" y="997"/>
                  </a:cubicBezTo>
                  <a:cubicBezTo>
                    <a:pt x="1872" y="986"/>
                    <a:pt x="1872" y="986"/>
                    <a:pt x="1872" y="986"/>
                  </a:cubicBezTo>
                  <a:cubicBezTo>
                    <a:pt x="1871" y="985"/>
                    <a:pt x="1870" y="983"/>
                    <a:pt x="1869" y="981"/>
                  </a:cubicBezTo>
                  <a:cubicBezTo>
                    <a:pt x="1866" y="975"/>
                    <a:pt x="1866" y="975"/>
                    <a:pt x="1866" y="975"/>
                  </a:cubicBezTo>
                  <a:cubicBezTo>
                    <a:pt x="1861" y="964"/>
                    <a:pt x="1861" y="964"/>
                    <a:pt x="1861" y="964"/>
                  </a:cubicBezTo>
                  <a:cubicBezTo>
                    <a:pt x="1860" y="962"/>
                    <a:pt x="1859" y="960"/>
                    <a:pt x="1859" y="958"/>
                  </a:cubicBezTo>
                  <a:cubicBezTo>
                    <a:pt x="1857" y="952"/>
                    <a:pt x="1857" y="952"/>
                    <a:pt x="1857" y="952"/>
                  </a:cubicBezTo>
                  <a:cubicBezTo>
                    <a:pt x="1852" y="941"/>
                    <a:pt x="1852" y="941"/>
                    <a:pt x="1852" y="941"/>
                  </a:cubicBezTo>
                  <a:cubicBezTo>
                    <a:pt x="1851" y="937"/>
                    <a:pt x="1850" y="933"/>
                    <a:pt x="1849" y="929"/>
                  </a:cubicBezTo>
                  <a:cubicBezTo>
                    <a:pt x="1841" y="897"/>
                    <a:pt x="1840" y="862"/>
                    <a:pt x="1847" y="830"/>
                  </a:cubicBezTo>
                  <a:cubicBezTo>
                    <a:pt x="1848" y="825"/>
                    <a:pt x="1849" y="822"/>
                    <a:pt x="1851" y="818"/>
                  </a:cubicBezTo>
                  <a:cubicBezTo>
                    <a:pt x="1852" y="814"/>
                    <a:pt x="1853" y="810"/>
                    <a:pt x="1854" y="806"/>
                  </a:cubicBezTo>
                  <a:cubicBezTo>
                    <a:pt x="1858" y="794"/>
                    <a:pt x="1858" y="794"/>
                    <a:pt x="1858" y="794"/>
                  </a:cubicBezTo>
                  <a:cubicBezTo>
                    <a:pt x="1860" y="790"/>
                    <a:pt x="1861" y="786"/>
                    <a:pt x="1863" y="783"/>
                  </a:cubicBezTo>
                  <a:cubicBezTo>
                    <a:pt x="1866" y="775"/>
                    <a:pt x="1870" y="768"/>
                    <a:pt x="1874" y="760"/>
                  </a:cubicBezTo>
                  <a:cubicBezTo>
                    <a:pt x="1876" y="757"/>
                    <a:pt x="1878" y="753"/>
                    <a:pt x="1880" y="749"/>
                  </a:cubicBezTo>
                  <a:cubicBezTo>
                    <a:pt x="1883" y="744"/>
                    <a:pt x="1883" y="744"/>
                    <a:pt x="1883" y="744"/>
                  </a:cubicBezTo>
                  <a:cubicBezTo>
                    <a:pt x="1884" y="742"/>
                    <a:pt x="1885" y="741"/>
                    <a:pt x="1886" y="739"/>
                  </a:cubicBezTo>
                  <a:cubicBezTo>
                    <a:pt x="1893" y="729"/>
                    <a:pt x="1893" y="729"/>
                    <a:pt x="1893" y="729"/>
                  </a:cubicBezTo>
                  <a:cubicBezTo>
                    <a:pt x="1901" y="719"/>
                    <a:pt x="1901" y="719"/>
                    <a:pt x="1901" y="719"/>
                  </a:cubicBezTo>
                  <a:cubicBezTo>
                    <a:pt x="1904" y="714"/>
                    <a:pt x="1904" y="714"/>
                    <a:pt x="1904" y="714"/>
                  </a:cubicBezTo>
                  <a:cubicBezTo>
                    <a:pt x="1908" y="709"/>
                    <a:pt x="1908" y="709"/>
                    <a:pt x="1908" y="709"/>
                  </a:cubicBezTo>
                  <a:cubicBezTo>
                    <a:pt x="1916" y="699"/>
                    <a:pt x="1916" y="699"/>
                    <a:pt x="1916" y="699"/>
                  </a:cubicBezTo>
                  <a:cubicBezTo>
                    <a:pt x="1927" y="687"/>
                    <a:pt x="1938" y="675"/>
                    <a:pt x="1950" y="664"/>
                  </a:cubicBezTo>
                  <a:cubicBezTo>
                    <a:pt x="1956" y="658"/>
                    <a:pt x="1962" y="653"/>
                    <a:pt x="1969" y="647"/>
                  </a:cubicBezTo>
                  <a:cubicBezTo>
                    <a:pt x="1975" y="642"/>
                    <a:pt x="1981" y="637"/>
                    <a:pt x="1988" y="632"/>
                  </a:cubicBezTo>
                  <a:cubicBezTo>
                    <a:pt x="2001" y="622"/>
                    <a:pt x="2014" y="613"/>
                    <a:pt x="2028" y="604"/>
                  </a:cubicBezTo>
                  <a:cubicBezTo>
                    <a:pt x="2048" y="591"/>
                    <a:pt x="2048" y="591"/>
                    <a:pt x="2048" y="591"/>
                  </a:cubicBezTo>
                  <a:cubicBezTo>
                    <a:pt x="2070" y="578"/>
                    <a:pt x="2070" y="578"/>
                    <a:pt x="2070" y="578"/>
                  </a:cubicBezTo>
                  <a:cubicBezTo>
                    <a:pt x="2084" y="571"/>
                    <a:pt x="2098" y="563"/>
                    <a:pt x="2113" y="556"/>
                  </a:cubicBezTo>
                  <a:cubicBezTo>
                    <a:pt x="2172" y="527"/>
                    <a:pt x="2233" y="505"/>
                    <a:pt x="2295" y="487"/>
                  </a:cubicBezTo>
                  <a:cubicBezTo>
                    <a:pt x="2357" y="468"/>
                    <a:pt x="2419" y="452"/>
                    <a:pt x="2482" y="438"/>
                  </a:cubicBezTo>
                  <a:cubicBezTo>
                    <a:pt x="2544" y="424"/>
                    <a:pt x="2607" y="411"/>
                    <a:pt x="2666" y="388"/>
                  </a:cubicBezTo>
                  <a:cubicBezTo>
                    <a:pt x="2695" y="377"/>
                    <a:pt x="2723" y="363"/>
                    <a:pt x="2749" y="345"/>
                  </a:cubicBezTo>
                  <a:cubicBezTo>
                    <a:pt x="2775" y="327"/>
                    <a:pt x="2801" y="308"/>
                    <a:pt x="2814" y="281"/>
                  </a:cubicBezTo>
                  <a:cubicBezTo>
                    <a:pt x="2821" y="267"/>
                    <a:pt x="2825" y="252"/>
                    <a:pt x="2824" y="237"/>
                  </a:cubicBezTo>
                  <a:cubicBezTo>
                    <a:pt x="2823" y="230"/>
                    <a:pt x="2822" y="222"/>
                    <a:pt x="2820" y="215"/>
                  </a:cubicBezTo>
                  <a:cubicBezTo>
                    <a:pt x="2819" y="212"/>
                    <a:pt x="2819" y="212"/>
                    <a:pt x="2819" y="212"/>
                  </a:cubicBezTo>
                  <a:cubicBezTo>
                    <a:pt x="2819" y="211"/>
                    <a:pt x="2818" y="211"/>
                    <a:pt x="2818" y="210"/>
                  </a:cubicBezTo>
                  <a:cubicBezTo>
                    <a:pt x="2816" y="204"/>
                    <a:pt x="2816" y="204"/>
                    <a:pt x="2816" y="204"/>
                  </a:cubicBezTo>
                  <a:cubicBezTo>
                    <a:pt x="2813" y="199"/>
                    <a:pt x="2813" y="199"/>
                    <a:pt x="2813" y="199"/>
                  </a:cubicBezTo>
                  <a:cubicBezTo>
                    <a:pt x="2813" y="197"/>
                    <a:pt x="2812" y="196"/>
                    <a:pt x="2811" y="194"/>
                  </a:cubicBezTo>
                  <a:cubicBezTo>
                    <a:pt x="2804" y="180"/>
                    <a:pt x="2795" y="168"/>
                    <a:pt x="2785" y="156"/>
                  </a:cubicBezTo>
                  <a:cubicBezTo>
                    <a:pt x="2774" y="145"/>
                    <a:pt x="2763" y="135"/>
                    <a:pt x="2750" y="127"/>
                  </a:cubicBezTo>
                  <a:cubicBezTo>
                    <a:pt x="2738" y="118"/>
                    <a:pt x="2724" y="110"/>
                    <a:pt x="2710" y="104"/>
                  </a:cubicBezTo>
                  <a:cubicBezTo>
                    <a:pt x="2697" y="97"/>
                    <a:pt x="2682" y="92"/>
                    <a:pt x="2668" y="87"/>
                  </a:cubicBezTo>
                  <a:cubicBezTo>
                    <a:pt x="2639" y="77"/>
                    <a:pt x="2609" y="70"/>
                    <a:pt x="2579" y="65"/>
                  </a:cubicBezTo>
                  <a:cubicBezTo>
                    <a:pt x="2519" y="54"/>
                    <a:pt x="2459" y="50"/>
                    <a:pt x="2399" y="45"/>
                  </a:cubicBezTo>
                  <a:cubicBezTo>
                    <a:pt x="2340" y="40"/>
                    <a:pt x="2280" y="36"/>
                    <a:pt x="2222" y="33"/>
                  </a:cubicBezTo>
                  <a:cubicBezTo>
                    <a:pt x="2104" y="28"/>
                    <a:pt x="1990" y="22"/>
                    <a:pt x="1878" y="17"/>
                  </a:cubicBezTo>
                  <a:cubicBezTo>
                    <a:pt x="1766" y="12"/>
                    <a:pt x="1657" y="8"/>
                    <a:pt x="1552" y="6"/>
                  </a:cubicBezTo>
                  <a:cubicBezTo>
                    <a:pt x="1447" y="3"/>
                    <a:pt x="1345" y="3"/>
                    <a:pt x="1248" y="6"/>
                  </a:cubicBezTo>
                  <a:cubicBezTo>
                    <a:pt x="1053" y="11"/>
                    <a:pt x="874" y="28"/>
                    <a:pt x="718" y="55"/>
                  </a:cubicBezTo>
                  <a:cubicBezTo>
                    <a:pt x="640" y="69"/>
                    <a:pt x="567" y="85"/>
                    <a:pt x="501" y="103"/>
                  </a:cubicBezTo>
                  <a:cubicBezTo>
                    <a:pt x="484" y="107"/>
                    <a:pt x="468" y="112"/>
                    <a:pt x="452" y="116"/>
                  </a:cubicBezTo>
                  <a:cubicBezTo>
                    <a:pt x="445" y="119"/>
                    <a:pt x="437" y="121"/>
                    <a:pt x="429" y="123"/>
                  </a:cubicBezTo>
                  <a:cubicBezTo>
                    <a:pt x="421" y="126"/>
                    <a:pt x="414" y="128"/>
                    <a:pt x="406" y="131"/>
                  </a:cubicBezTo>
                  <a:cubicBezTo>
                    <a:pt x="391" y="135"/>
                    <a:pt x="377" y="140"/>
                    <a:pt x="362" y="145"/>
                  </a:cubicBezTo>
                  <a:cubicBezTo>
                    <a:pt x="348" y="150"/>
                    <a:pt x="335" y="155"/>
                    <a:pt x="321" y="160"/>
                  </a:cubicBezTo>
                  <a:cubicBezTo>
                    <a:pt x="214" y="199"/>
                    <a:pt x="134" y="239"/>
                    <a:pt x="81" y="269"/>
                  </a:cubicBezTo>
                  <a:cubicBezTo>
                    <a:pt x="74" y="272"/>
                    <a:pt x="68" y="276"/>
                    <a:pt x="62" y="279"/>
                  </a:cubicBezTo>
                  <a:cubicBezTo>
                    <a:pt x="56" y="282"/>
                    <a:pt x="51" y="286"/>
                    <a:pt x="46" y="289"/>
                  </a:cubicBezTo>
                  <a:cubicBezTo>
                    <a:pt x="36" y="295"/>
                    <a:pt x="27" y="300"/>
                    <a:pt x="20" y="304"/>
                  </a:cubicBezTo>
                  <a:cubicBezTo>
                    <a:pt x="7" y="312"/>
                    <a:pt x="0" y="316"/>
                    <a:pt x="0" y="316"/>
                  </a:cubicBezTo>
                  <a:cubicBezTo>
                    <a:pt x="0" y="316"/>
                    <a:pt x="7" y="312"/>
                    <a:pt x="20" y="304"/>
                  </a:cubicBezTo>
                  <a:cubicBezTo>
                    <a:pt x="27" y="300"/>
                    <a:pt x="36" y="295"/>
                    <a:pt x="46" y="289"/>
                  </a:cubicBezTo>
                  <a:cubicBezTo>
                    <a:pt x="51" y="286"/>
                    <a:pt x="56" y="282"/>
                    <a:pt x="62" y="279"/>
                  </a:cubicBezTo>
                  <a:cubicBezTo>
                    <a:pt x="68" y="276"/>
                    <a:pt x="74" y="272"/>
                    <a:pt x="81" y="269"/>
                  </a:cubicBezTo>
                  <a:cubicBezTo>
                    <a:pt x="134" y="239"/>
                    <a:pt x="214" y="198"/>
                    <a:pt x="321" y="159"/>
                  </a:cubicBezTo>
                  <a:cubicBezTo>
                    <a:pt x="334" y="154"/>
                    <a:pt x="348" y="149"/>
                    <a:pt x="362" y="144"/>
                  </a:cubicBezTo>
                  <a:cubicBezTo>
                    <a:pt x="376" y="139"/>
                    <a:pt x="391" y="134"/>
                    <a:pt x="406" y="130"/>
                  </a:cubicBezTo>
                  <a:cubicBezTo>
                    <a:pt x="413" y="127"/>
                    <a:pt x="421" y="125"/>
                    <a:pt x="429" y="122"/>
                  </a:cubicBezTo>
                  <a:cubicBezTo>
                    <a:pt x="436" y="120"/>
                    <a:pt x="444" y="118"/>
                    <a:pt x="452" y="115"/>
                  </a:cubicBezTo>
                  <a:cubicBezTo>
                    <a:pt x="468" y="111"/>
                    <a:pt x="484" y="106"/>
                    <a:pt x="501" y="101"/>
                  </a:cubicBezTo>
                  <a:cubicBezTo>
                    <a:pt x="567" y="84"/>
                    <a:pt x="639" y="67"/>
                    <a:pt x="718" y="54"/>
                  </a:cubicBezTo>
                  <a:cubicBezTo>
                    <a:pt x="874" y="25"/>
                    <a:pt x="1053" y="9"/>
                    <a:pt x="1248" y="3"/>
                  </a:cubicBezTo>
                  <a:cubicBezTo>
                    <a:pt x="1345" y="0"/>
                    <a:pt x="1447" y="0"/>
                    <a:pt x="1552" y="2"/>
                  </a:cubicBezTo>
                  <a:cubicBezTo>
                    <a:pt x="1658" y="4"/>
                    <a:pt x="1766" y="8"/>
                    <a:pt x="1878" y="12"/>
                  </a:cubicBezTo>
                  <a:cubicBezTo>
                    <a:pt x="1990" y="18"/>
                    <a:pt x="2105" y="23"/>
                    <a:pt x="2222" y="28"/>
                  </a:cubicBezTo>
                  <a:cubicBezTo>
                    <a:pt x="2281" y="31"/>
                    <a:pt x="2340" y="34"/>
                    <a:pt x="2400" y="39"/>
                  </a:cubicBezTo>
                  <a:cubicBezTo>
                    <a:pt x="2459" y="44"/>
                    <a:pt x="2520" y="48"/>
                    <a:pt x="2580" y="59"/>
                  </a:cubicBezTo>
                  <a:cubicBezTo>
                    <a:pt x="2611" y="64"/>
                    <a:pt x="2641" y="71"/>
                    <a:pt x="2670" y="81"/>
                  </a:cubicBezTo>
                  <a:cubicBezTo>
                    <a:pt x="2685" y="86"/>
                    <a:pt x="2699" y="91"/>
                    <a:pt x="2713" y="98"/>
                  </a:cubicBezTo>
                  <a:cubicBezTo>
                    <a:pt x="2727" y="105"/>
                    <a:pt x="2741" y="112"/>
                    <a:pt x="2754" y="121"/>
                  </a:cubicBezTo>
                  <a:cubicBezTo>
                    <a:pt x="2780" y="139"/>
                    <a:pt x="2803" y="162"/>
                    <a:pt x="2817" y="191"/>
                  </a:cubicBezTo>
                  <a:cubicBezTo>
                    <a:pt x="2818" y="193"/>
                    <a:pt x="2819" y="194"/>
                    <a:pt x="2820" y="196"/>
                  </a:cubicBezTo>
                  <a:cubicBezTo>
                    <a:pt x="2822" y="202"/>
                    <a:pt x="2822" y="202"/>
                    <a:pt x="2822" y="202"/>
                  </a:cubicBezTo>
                  <a:cubicBezTo>
                    <a:pt x="2824" y="207"/>
                    <a:pt x="2824" y="207"/>
                    <a:pt x="2824" y="207"/>
                  </a:cubicBezTo>
                  <a:cubicBezTo>
                    <a:pt x="2825" y="208"/>
                    <a:pt x="2825" y="209"/>
                    <a:pt x="2826" y="210"/>
                  </a:cubicBezTo>
                  <a:cubicBezTo>
                    <a:pt x="2826" y="213"/>
                    <a:pt x="2826" y="213"/>
                    <a:pt x="2826" y="213"/>
                  </a:cubicBezTo>
                  <a:cubicBezTo>
                    <a:pt x="2829" y="220"/>
                    <a:pt x="2830" y="229"/>
                    <a:pt x="2831" y="237"/>
                  </a:cubicBezTo>
                  <a:cubicBezTo>
                    <a:pt x="2832" y="253"/>
                    <a:pt x="2828" y="269"/>
                    <a:pt x="2821" y="284"/>
                  </a:cubicBezTo>
                  <a:cubicBezTo>
                    <a:pt x="2814" y="299"/>
                    <a:pt x="2803" y="311"/>
                    <a:pt x="2791" y="322"/>
                  </a:cubicBezTo>
                  <a:cubicBezTo>
                    <a:pt x="2785" y="327"/>
                    <a:pt x="2779" y="332"/>
                    <a:pt x="2773" y="337"/>
                  </a:cubicBezTo>
                  <a:cubicBezTo>
                    <a:pt x="2770" y="340"/>
                    <a:pt x="2767" y="342"/>
                    <a:pt x="2763" y="344"/>
                  </a:cubicBezTo>
                  <a:cubicBezTo>
                    <a:pt x="2754" y="351"/>
                    <a:pt x="2754" y="351"/>
                    <a:pt x="2754" y="351"/>
                  </a:cubicBezTo>
                  <a:cubicBezTo>
                    <a:pt x="2727" y="369"/>
                    <a:pt x="2698" y="384"/>
                    <a:pt x="2669" y="395"/>
                  </a:cubicBezTo>
                  <a:cubicBezTo>
                    <a:pt x="2609" y="419"/>
                    <a:pt x="2546" y="432"/>
                    <a:pt x="2484" y="446"/>
                  </a:cubicBezTo>
                  <a:cubicBezTo>
                    <a:pt x="2421" y="460"/>
                    <a:pt x="2359" y="476"/>
                    <a:pt x="2297" y="495"/>
                  </a:cubicBezTo>
                  <a:cubicBezTo>
                    <a:pt x="2236" y="514"/>
                    <a:pt x="2175" y="536"/>
                    <a:pt x="2117" y="564"/>
                  </a:cubicBezTo>
                  <a:cubicBezTo>
                    <a:pt x="2103" y="571"/>
                    <a:pt x="2088" y="579"/>
                    <a:pt x="2074" y="586"/>
                  </a:cubicBezTo>
                  <a:cubicBezTo>
                    <a:pt x="2053" y="599"/>
                    <a:pt x="2053" y="599"/>
                    <a:pt x="2053" y="599"/>
                  </a:cubicBezTo>
                  <a:cubicBezTo>
                    <a:pt x="2033" y="612"/>
                    <a:pt x="2033" y="612"/>
                    <a:pt x="2033" y="612"/>
                  </a:cubicBezTo>
                  <a:cubicBezTo>
                    <a:pt x="2020" y="620"/>
                    <a:pt x="2006" y="630"/>
                    <a:pt x="1993" y="640"/>
                  </a:cubicBezTo>
                  <a:cubicBezTo>
                    <a:pt x="1987" y="644"/>
                    <a:pt x="1981" y="650"/>
                    <a:pt x="1975" y="655"/>
                  </a:cubicBezTo>
                  <a:cubicBezTo>
                    <a:pt x="1969" y="660"/>
                    <a:pt x="1962" y="665"/>
                    <a:pt x="1957" y="671"/>
                  </a:cubicBezTo>
                  <a:cubicBezTo>
                    <a:pt x="1945" y="682"/>
                    <a:pt x="1934" y="693"/>
                    <a:pt x="1923" y="706"/>
                  </a:cubicBezTo>
                  <a:cubicBezTo>
                    <a:pt x="1916" y="715"/>
                    <a:pt x="1916" y="715"/>
                    <a:pt x="1916" y="715"/>
                  </a:cubicBezTo>
                  <a:cubicBezTo>
                    <a:pt x="1912" y="720"/>
                    <a:pt x="1912" y="720"/>
                    <a:pt x="1912" y="720"/>
                  </a:cubicBezTo>
                  <a:cubicBezTo>
                    <a:pt x="1908" y="724"/>
                    <a:pt x="1908" y="724"/>
                    <a:pt x="1908" y="724"/>
                  </a:cubicBezTo>
                  <a:cubicBezTo>
                    <a:pt x="1901" y="734"/>
                    <a:pt x="1901" y="734"/>
                    <a:pt x="1901" y="734"/>
                  </a:cubicBezTo>
                  <a:cubicBezTo>
                    <a:pt x="1895" y="744"/>
                    <a:pt x="1895" y="744"/>
                    <a:pt x="1895" y="744"/>
                  </a:cubicBezTo>
                  <a:cubicBezTo>
                    <a:pt x="1894" y="746"/>
                    <a:pt x="1892" y="748"/>
                    <a:pt x="1891" y="749"/>
                  </a:cubicBezTo>
                  <a:cubicBezTo>
                    <a:pt x="1888" y="754"/>
                    <a:pt x="1888" y="754"/>
                    <a:pt x="1888" y="754"/>
                  </a:cubicBezTo>
                  <a:cubicBezTo>
                    <a:pt x="1886" y="758"/>
                    <a:pt x="1884" y="761"/>
                    <a:pt x="1882" y="765"/>
                  </a:cubicBezTo>
                  <a:cubicBezTo>
                    <a:pt x="1879" y="772"/>
                    <a:pt x="1875" y="779"/>
                    <a:pt x="1872" y="787"/>
                  </a:cubicBezTo>
                  <a:cubicBezTo>
                    <a:pt x="1871" y="790"/>
                    <a:pt x="1869" y="794"/>
                    <a:pt x="1868" y="798"/>
                  </a:cubicBezTo>
                  <a:cubicBezTo>
                    <a:pt x="1864" y="809"/>
                    <a:pt x="1864" y="809"/>
                    <a:pt x="1864" y="809"/>
                  </a:cubicBezTo>
                  <a:cubicBezTo>
                    <a:pt x="1862" y="812"/>
                    <a:pt x="1861" y="816"/>
                    <a:pt x="1860" y="820"/>
                  </a:cubicBezTo>
                  <a:cubicBezTo>
                    <a:pt x="1859" y="824"/>
                    <a:pt x="1858" y="828"/>
                    <a:pt x="1857" y="832"/>
                  </a:cubicBezTo>
                  <a:cubicBezTo>
                    <a:pt x="1850" y="863"/>
                    <a:pt x="1851" y="895"/>
                    <a:pt x="1859" y="926"/>
                  </a:cubicBezTo>
                  <a:cubicBezTo>
                    <a:pt x="1860" y="930"/>
                    <a:pt x="1861" y="934"/>
                    <a:pt x="1862" y="938"/>
                  </a:cubicBezTo>
                  <a:cubicBezTo>
                    <a:pt x="1866" y="949"/>
                    <a:pt x="1866" y="949"/>
                    <a:pt x="1866" y="949"/>
                  </a:cubicBezTo>
                  <a:cubicBezTo>
                    <a:pt x="1868" y="954"/>
                    <a:pt x="1868" y="954"/>
                    <a:pt x="1868" y="954"/>
                  </a:cubicBezTo>
                  <a:cubicBezTo>
                    <a:pt x="1869" y="956"/>
                    <a:pt x="1870" y="958"/>
                    <a:pt x="1871" y="960"/>
                  </a:cubicBezTo>
                  <a:cubicBezTo>
                    <a:pt x="1876" y="971"/>
                    <a:pt x="1876" y="971"/>
                    <a:pt x="1876" y="971"/>
                  </a:cubicBezTo>
                  <a:cubicBezTo>
                    <a:pt x="1878" y="976"/>
                    <a:pt x="1878" y="976"/>
                    <a:pt x="1878" y="976"/>
                  </a:cubicBezTo>
                  <a:cubicBezTo>
                    <a:pt x="1879" y="978"/>
                    <a:pt x="1880" y="980"/>
                    <a:pt x="1881" y="981"/>
                  </a:cubicBezTo>
                  <a:cubicBezTo>
                    <a:pt x="1887" y="992"/>
                    <a:pt x="1887" y="992"/>
                    <a:pt x="1887" y="992"/>
                  </a:cubicBezTo>
                  <a:cubicBezTo>
                    <a:pt x="1889" y="995"/>
                    <a:pt x="1891" y="998"/>
                    <a:pt x="1894" y="1002"/>
                  </a:cubicBezTo>
                  <a:cubicBezTo>
                    <a:pt x="1901" y="1011"/>
                    <a:pt x="1901" y="1011"/>
                    <a:pt x="1901" y="1011"/>
                  </a:cubicBezTo>
                  <a:cubicBezTo>
                    <a:pt x="1920" y="1037"/>
                    <a:pt x="1944" y="1059"/>
                    <a:pt x="1969" y="1078"/>
                  </a:cubicBezTo>
                  <a:cubicBezTo>
                    <a:pt x="1995" y="1097"/>
                    <a:pt x="2023" y="1114"/>
                    <a:pt x="2051" y="1128"/>
                  </a:cubicBezTo>
                  <a:cubicBezTo>
                    <a:pt x="2080" y="1143"/>
                    <a:pt x="2110" y="1155"/>
                    <a:pt x="2140" y="1166"/>
                  </a:cubicBezTo>
                  <a:cubicBezTo>
                    <a:pt x="2170" y="1178"/>
                    <a:pt x="2201" y="1187"/>
                    <a:pt x="2232" y="1196"/>
                  </a:cubicBezTo>
                  <a:cubicBezTo>
                    <a:pt x="2294" y="1214"/>
                    <a:pt x="2356" y="1227"/>
                    <a:pt x="2419" y="1239"/>
                  </a:cubicBezTo>
                  <a:cubicBezTo>
                    <a:pt x="2482" y="1250"/>
                    <a:pt x="2545" y="1259"/>
                    <a:pt x="2608" y="1267"/>
                  </a:cubicBezTo>
                  <a:cubicBezTo>
                    <a:pt x="2671" y="1275"/>
                    <a:pt x="2734" y="1281"/>
                    <a:pt x="2796" y="1285"/>
                  </a:cubicBezTo>
                  <a:cubicBezTo>
                    <a:pt x="2921" y="1294"/>
                    <a:pt x="3045" y="1298"/>
                    <a:pt x="3167" y="1306"/>
                  </a:cubicBezTo>
                  <a:cubicBezTo>
                    <a:pt x="3228" y="1309"/>
                    <a:pt x="3289" y="1314"/>
                    <a:pt x="3349" y="1320"/>
                  </a:cubicBezTo>
                  <a:cubicBezTo>
                    <a:pt x="3408" y="1326"/>
                    <a:pt x="3468" y="1334"/>
                    <a:pt x="3525" y="1346"/>
                  </a:cubicBezTo>
                  <a:cubicBezTo>
                    <a:pt x="3583" y="1358"/>
                    <a:pt x="3640" y="1374"/>
                    <a:pt x="3693" y="1398"/>
                  </a:cubicBezTo>
                  <a:cubicBezTo>
                    <a:pt x="3700" y="1401"/>
                    <a:pt x="3706" y="1403"/>
                    <a:pt x="3713" y="1407"/>
                  </a:cubicBezTo>
                  <a:cubicBezTo>
                    <a:pt x="3723" y="1412"/>
                    <a:pt x="3723" y="1412"/>
                    <a:pt x="3723" y="1412"/>
                  </a:cubicBezTo>
                  <a:cubicBezTo>
                    <a:pt x="3732" y="1417"/>
                    <a:pt x="3732" y="1417"/>
                    <a:pt x="3732" y="1417"/>
                  </a:cubicBezTo>
                  <a:cubicBezTo>
                    <a:pt x="3737" y="1419"/>
                    <a:pt x="3737" y="1419"/>
                    <a:pt x="3737" y="1419"/>
                  </a:cubicBezTo>
                  <a:cubicBezTo>
                    <a:pt x="3739" y="1421"/>
                    <a:pt x="3739" y="1421"/>
                    <a:pt x="3739" y="1421"/>
                  </a:cubicBezTo>
                  <a:cubicBezTo>
                    <a:pt x="3742" y="1422"/>
                    <a:pt x="3742" y="1422"/>
                    <a:pt x="3742" y="1422"/>
                  </a:cubicBezTo>
                  <a:cubicBezTo>
                    <a:pt x="3751" y="1427"/>
                    <a:pt x="3751" y="1427"/>
                    <a:pt x="3751" y="1427"/>
                  </a:cubicBezTo>
                  <a:cubicBezTo>
                    <a:pt x="3757" y="1431"/>
                    <a:pt x="3763" y="1435"/>
                    <a:pt x="3769" y="1438"/>
                  </a:cubicBezTo>
                  <a:cubicBezTo>
                    <a:pt x="3774" y="1441"/>
                    <a:pt x="3774" y="1441"/>
                    <a:pt x="3774" y="1441"/>
                  </a:cubicBezTo>
                  <a:cubicBezTo>
                    <a:pt x="3778" y="1444"/>
                    <a:pt x="3778" y="1444"/>
                    <a:pt x="3778" y="1444"/>
                  </a:cubicBezTo>
                  <a:cubicBezTo>
                    <a:pt x="3787" y="1450"/>
                    <a:pt x="3787" y="1450"/>
                    <a:pt x="3787" y="1450"/>
                  </a:cubicBezTo>
                  <a:cubicBezTo>
                    <a:pt x="3793" y="1454"/>
                    <a:pt x="3799" y="1458"/>
                    <a:pt x="3805" y="1462"/>
                  </a:cubicBezTo>
                  <a:cubicBezTo>
                    <a:pt x="3811" y="1466"/>
                    <a:pt x="3817" y="1470"/>
                    <a:pt x="3822" y="1474"/>
                  </a:cubicBezTo>
                  <a:cubicBezTo>
                    <a:pt x="3828" y="1478"/>
                    <a:pt x="3834" y="1482"/>
                    <a:pt x="3839" y="1487"/>
                  </a:cubicBezTo>
                  <a:cubicBezTo>
                    <a:pt x="3845" y="1491"/>
                    <a:pt x="3850" y="1496"/>
                    <a:pt x="3856" y="1500"/>
                  </a:cubicBezTo>
                  <a:cubicBezTo>
                    <a:pt x="3859" y="1503"/>
                    <a:pt x="3861" y="1505"/>
                    <a:pt x="3864" y="1507"/>
                  </a:cubicBezTo>
                  <a:cubicBezTo>
                    <a:pt x="3872" y="1514"/>
                    <a:pt x="3872" y="1514"/>
                    <a:pt x="3872" y="1514"/>
                  </a:cubicBezTo>
                  <a:cubicBezTo>
                    <a:pt x="3877" y="1519"/>
                    <a:pt x="3882" y="1524"/>
                    <a:pt x="3887" y="1529"/>
                  </a:cubicBezTo>
                  <a:cubicBezTo>
                    <a:pt x="3892" y="1534"/>
                    <a:pt x="3897" y="1539"/>
                    <a:pt x="3902" y="1544"/>
                  </a:cubicBezTo>
                  <a:cubicBezTo>
                    <a:pt x="3909" y="1552"/>
                    <a:pt x="3909" y="1552"/>
                    <a:pt x="3909" y="1552"/>
                  </a:cubicBezTo>
                  <a:cubicBezTo>
                    <a:pt x="3911" y="1554"/>
                    <a:pt x="3913" y="1557"/>
                    <a:pt x="3916" y="1560"/>
                  </a:cubicBezTo>
                  <a:cubicBezTo>
                    <a:pt x="3920" y="1565"/>
                    <a:pt x="3924" y="1570"/>
                    <a:pt x="3929" y="1576"/>
                  </a:cubicBezTo>
                  <a:cubicBezTo>
                    <a:pt x="3933" y="1581"/>
                    <a:pt x="3937" y="1587"/>
                    <a:pt x="3941" y="1593"/>
                  </a:cubicBezTo>
                  <a:cubicBezTo>
                    <a:pt x="3947" y="1601"/>
                    <a:pt x="3947" y="1601"/>
                    <a:pt x="3947" y="1601"/>
                  </a:cubicBezTo>
                  <a:cubicBezTo>
                    <a:pt x="3949" y="1604"/>
                    <a:pt x="3951" y="1607"/>
                    <a:pt x="3952" y="1610"/>
                  </a:cubicBezTo>
                  <a:cubicBezTo>
                    <a:pt x="3956" y="1616"/>
                    <a:pt x="3960" y="1622"/>
                    <a:pt x="3963" y="1628"/>
                  </a:cubicBezTo>
                  <a:cubicBezTo>
                    <a:pt x="3966" y="1634"/>
                    <a:pt x="3969" y="1640"/>
                    <a:pt x="3973" y="1646"/>
                  </a:cubicBezTo>
                  <a:cubicBezTo>
                    <a:pt x="3976" y="1652"/>
                    <a:pt x="3978" y="1659"/>
                    <a:pt x="3981" y="1665"/>
                  </a:cubicBezTo>
                  <a:cubicBezTo>
                    <a:pt x="3983" y="1672"/>
                    <a:pt x="3986" y="1678"/>
                    <a:pt x="3988" y="1684"/>
                  </a:cubicBezTo>
                  <a:cubicBezTo>
                    <a:pt x="3990" y="1691"/>
                    <a:pt x="3993" y="1697"/>
                    <a:pt x="3995" y="1704"/>
                  </a:cubicBezTo>
                  <a:cubicBezTo>
                    <a:pt x="3996" y="1710"/>
                    <a:pt x="3998" y="1717"/>
                    <a:pt x="4000" y="1724"/>
                  </a:cubicBezTo>
                  <a:cubicBezTo>
                    <a:pt x="4000" y="1727"/>
                    <a:pt x="4001" y="1730"/>
                    <a:pt x="4002" y="1734"/>
                  </a:cubicBezTo>
                  <a:cubicBezTo>
                    <a:pt x="4004" y="1743"/>
                    <a:pt x="4004" y="1743"/>
                    <a:pt x="4004" y="1743"/>
                  </a:cubicBezTo>
                  <a:cubicBezTo>
                    <a:pt x="4005" y="1753"/>
                    <a:pt x="4005" y="1753"/>
                    <a:pt x="4005" y="1753"/>
                  </a:cubicBezTo>
                  <a:cubicBezTo>
                    <a:pt x="4006" y="1758"/>
                    <a:pt x="4006" y="1758"/>
                    <a:pt x="4006" y="1758"/>
                  </a:cubicBezTo>
                  <a:cubicBezTo>
                    <a:pt x="4007" y="1763"/>
                    <a:pt x="4007" y="1763"/>
                    <a:pt x="4007" y="1763"/>
                  </a:cubicBezTo>
                  <a:cubicBezTo>
                    <a:pt x="4007" y="1770"/>
                    <a:pt x="4008" y="1777"/>
                    <a:pt x="4008" y="1783"/>
                  </a:cubicBezTo>
                  <a:cubicBezTo>
                    <a:pt x="4009" y="1790"/>
                    <a:pt x="4009" y="1797"/>
                    <a:pt x="4009" y="1803"/>
                  </a:cubicBezTo>
                  <a:cubicBezTo>
                    <a:pt x="4009" y="1813"/>
                    <a:pt x="4009" y="1813"/>
                    <a:pt x="4009" y="1813"/>
                  </a:cubicBezTo>
                  <a:cubicBezTo>
                    <a:pt x="4009" y="1823"/>
                    <a:pt x="4009" y="1823"/>
                    <a:pt x="4009" y="1823"/>
                  </a:cubicBezTo>
                  <a:cubicBezTo>
                    <a:pt x="4009" y="1830"/>
                    <a:pt x="4009" y="1837"/>
                    <a:pt x="4008" y="1843"/>
                  </a:cubicBezTo>
                  <a:cubicBezTo>
                    <a:pt x="4007" y="1856"/>
                    <a:pt x="4006" y="1869"/>
                    <a:pt x="4004" y="1882"/>
                  </a:cubicBezTo>
                  <a:cubicBezTo>
                    <a:pt x="4003" y="1889"/>
                    <a:pt x="4002" y="1895"/>
                    <a:pt x="4001" y="1901"/>
                  </a:cubicBezTo>
                  <a:cubicBezTo>
                    <a:pt x="3999" y="1908"/>
                    <a:pt x="3998" y="1914"/>
                    <a:pt x="3997" y="1920"/>
                  </a:cubicBezTo>
                  <a:cubicBezTo>
                    <a:pt x="3996" y="1927"/>
                    <a:pt x="3994" y="1933"/>
                    <a:pt x="3992" y="1939"/>
                  </a:cubicBezTo>
                  <a:cubicBezTo>
                    <a:pt x="3990" y="1945"/>
                    <a:pt x="3989" y="1951"/>
                    <a:pt x="3987" y="1958"/>
                  </a:cubicBezTo>
                  <a:cubicBezTo>
                    <a:pt x="3985" y="1964"/>
                    <a:pt x="3983" y="1970"/>
                    <a:pt x="3982" y="1976"/>
                  </a:cubicBezTo>
                  <a:cubicBezTo>
                    <a:pt x="3979" y="1985"/>
                    <a:pt x="3979" y="1985"/>
                    <a:pt x="3979" y="1985"/>
                  </a:cubicBezTo>
                  <a:cubicBezTo>
                    <a:pt x="3976" y="1994"/>
                    <a:pt x="3976" y="1994"/>
                    <a:pt x="3976" y="1994"/>
                  </a:cubicBezTo>
                  <a:cubicBezTo>
                    <a:pt x="3973" y="2000"/>
                    <a:pt x="3971" y="2006"/>
                    <a:pt x="3969" y="2011"/>
                  </a:cubicBezTo>
                  <a:cubicBezTo>
                    <a:pt x="3967" y="2017"/>
                    <a:pt x="3965" y="2023"/>
                    <a:pt x="3962" y="2029"/>
                  </a:cubicBezTo>
                  <a:cubicBezTo>
                    <a:pt x="3958" y="2040"/>
                    <a:pt x="3953" y="2052"/>
                    <a:pt x="3948" y="2063"/>
                  </a:cubicBezTo>
                  <a:cubicBezTo>
                    <a:pt x="3928" y="2108"/>
                    <a:pt x="3905" y="2150"/>
                    <a:pt x="3881" y="2191"/>
                  </a:cubicBezTo>
                  <a:cubicBezTo>
                    <a:pt x="3856" y="2231"/>
                    <a:pt x="3831" y="2269"/>
                    <a:pt x="3805" y="2305"/>
                  </a:cubicBezTo>
                  <a:cubicBezTo>
                    <a:pt x="3753" y="2378"/>
                    <a:pt x="3700" y="2444"/>
                    <a:pt x="3649" y="2505"/>
                  </a:cubicBezTo>
                  <a:cubicBezTo>
                    <a:pt x="3598" y="2566"/>
                    <a:pt x="3548" y="2621"/>
                    <a:pt x="3503" y="2673"/>
                  </a:cubicBezTo>
                  <a:cubicBezTo>
                    <a:pt x="3457" y="2724"/>
                    <a:pt x="3414" y="2770"/>
                    <a:pt x="3376" y="2813"/>
                  </a:cubicBezTo>
                  <a:cubicBezTo>
                    <a:pt x="3338" y="2855"/>
                    <a:pt x="3304" y="2893"/>
                    <a:pt x="3276" y="2926"/>
                  </a:cubicBezTo>
                  <a:cubicBezTo>
                    <a:pt x="3247" y="2960"/>
                    <a:pt x="3224" y="2989"/>
                    <a:pt x="3205" y="3013"/>
                  </a:cubicBezTo>
                  <a:cubicBezTo>
                    <a:pt x="3187" y="3037"/>
                    <a:pt x="3174" y="3056"/>
                    <a:pt x="3165" y="3069"/>
                  </a:cubicBezTo>
                  <a:cubicBezTo>
                    <a:pt x="3157" y="3083"/>
                    <a:pt x="3152" y="3089"/>
                    <a:pt x="3152" y="3089"/>
                  </a:cubicBezTo>
                  <a:lnTo>
                    <a:pt x="3136" y="307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p:cNvGrpSpPr/>
          <p:nvPr/>
        </p:nvGrpSpPr>
        <p:grpSpPr>
          <a:xfrm>
            <a:off x="2226959" y="4566684"/>
            <a:ext cx="1157370" cy="2241799"/>
            <a:chOff x="6940174" y="3246442"/>
            <a:chExt cx="1175340" cy="2223712"/>
          </a:xfrm>
        </p:grpSpPr>
        <p:grpSp>
          <p:nvGrpSpPr>
            <p:cNvPr id="82" name="Group 81"/>
            <p:cNvGrpSpPr/>
            <p:nvPr/>
          </p:nvGrpSpPr>
          <p:grpSpPr>
            <a:xfrm>
              <a:off x="6940174" y="3246442"/>
              <a:ext cx="1175340" cy="2192500"/>
              <a:chOff x="5455241" y="1480656"/>
              <a:chExt cx="1517619" cy="2830995"/>
            </a:xfrm>
          </p:grpSpPr>
          <p:grpSp>
            <p:nvGrpSpPr>
              <p:cNvPr id="84" name="Group 83"/>
              <p:cNvGrpSpPr/>
              <p:nvPr/>
            </p:nvGrpSpPr>
            <p:grpSpPr>
              <a:xfrm>
                <a:off x="6083422" y="2925441"/>
                <a:ext cx="246291" cy="1386210"/>
                <a:chOff x="2641600" y="3431522"/>
                <a:chExt cx="246291" cy="2446764"/>
              </a:xfrm>
            </p:grpSpPr>
            <p:sp>
              <p:nvSpPr>
                <p:cNvPr id="87" name="Rectangle 86"/>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5" name="Flowchart: Connector 84"/>
              <p:cNvSpPr/>
              <p:nvPr/>
            </p:nvSpPr>
            <p:spPr>
              <a:xfrm>
                <a:off x="5455241" y="1480656"/>
                <a:ext cx="1517619" cy="1517619"/>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Flowchart: Connector 85"/>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Oval 82"/>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9" name="Group 98"/>
          <p:cNvGrpSpPr/>
          <p:nvPr/>
        </p:nvGrpSpPr>
        <p:grpSpPr>
          <a:xfrm>
            <a:off x="70160" y="2919224"/>
            <a:ext cx="685770" cy="1410428"/>
            <a:chOff x="6940174" y="3246442"/>
            <a:chExt cx="1175340" cy="2223712"/>
          </a:xfrm>
        </p:grpSpPr>
        <p:grpSp>
          <p:nvGrpSpPr>
            <p:cNvPr id="100" name="Group 99"/>
            <p:cNvGrpSpPr/>
            <p:nvPr/>
          </p:nvGrpSpPr>
          <p:grpSpPr>
            <a:xfrm>
              <a:off x="6940174" y="3246442"/>
              <a:ext cx="1175340" cy="2192500"/>
              <a:chOff x="5455241" y="1480656"/>
              <a:chExt cx="1517619" cy="2830995"/>
            </a:xfrm>
          </p:grpSpPr>
          <p:grpSp>
            <p:nvGrpSpPr>
              <p:cNvPr id="102" name="Group 101"/>
              <p:cNvGrpSpPr/>
              <p:nvPr/>
            </p:nvGrpSpPr>
            <p:grpSpPr>
              <a:xfrm>
                <a:off x="6083422" y="2925441"/>
                <a:ext cx="246291" cy="1386210"/>
                <a:chOff x="2641600" y="3431522"/>
                <a:chExt cx="246291" cy="2446764"/>
              </a:xfrm>
            </p:grpSpPr>
            <p:sp>
              <p:nvSpPr>
                <p:cNvPr id="105" name="Rectangle 104"/>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 name="Flowchart: Connector 102"/>
              <p:cNvSpPr/>
              <p:nvPr/>
            </p:nvSpPr>
            <p:spPr>
              <a:xfrm>
                <a:off x="5455241" y="1480656"/>
                <a:ext cx="1517619" cy="1517619"/>
              </a:xfrm>
              <a:prstGeom prst="flowChartConnector">
                <a:avLst/>
              </a:prstGeom>
              <a:solidFill>
                <a:srgbClr val="F5C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Flowchart: Connector 103"/>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1" name="Oval 100"/>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Graphic 6" descr="Building Brick Wall with solid fill">
            <a:extLst>
              <a:ext uri="{FF2B5EF4-FFF2-40B4-BE49-F238E27FC236}">
                <a16:creationId xmlns:a16="http://schemas.microsoft.com/office/drawing/2014/main" id="{4BC1CC32-1AFF-5142-B207-7C6F9016A9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2234" y="4867177"/>
            <a:ext cx="586821" cy="586821"/>
          </a:xfrm>
          <a:prstGeom prst="rect">
            <a:avLst/>
          </a:prstGeom>
        </p:spPr>
      </p:pic>
      <p:pic>
        <p:nvPicPr>
          <p:cNvPr id="11" name="Graphic 10" descr="Checklist with solid fill">
            <a:extLst>
              <a:ext uri="{FF2B5EF4-FFF2-40B4-BE49-F238E27FC236}">
                <a16:creationId xmlns:a16="http://schemas.microsoft.com/office/drawing/2014/main" id="{0926DBE0-6C50-794B-88F5-A66D97095F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229" y="3062461"/>
            <a:ext cx="486368" cy="486368"/>
          </a:xfrm>
          <a:prstGeom prst="rect">
            <a:avLst/>
          </a:prstGeom>
        </p:spPr>
      </p:pic>
      <p:pic>
        <p:nvPicPr>
          <p:cNvPr id="116" name="Picture 115" descr="A picture containing text, road, sky, outdoor&#10;&#10;Description automatically generated">
            <a:extLst>
              <a:ext uri="{FF2B5EF4-FFF2-40B4-BE49-F238E27FC236}">
                <a16:creationId xmlns:a16="http://schemas.microsoft.com/office/drawing/2014/main" id="{81F61052-0FDE-DC4F-9A1F-06F1F6701604}"/>
              </a:ext>
            </a:extLst>
          </p:cNvPr>
          <p:cNvPicPr>
            <a:picLocks noChangeAspect="1"/>
          </p:cNvPicPr>
          <p:nvPr/>
        </p:nvPicPr>
        <p:blipFill rotWithShape="1">
          <a:blip r:embed="rId8"/>
          <a:srcRect t="54405"/>
          <a:stretch/>
        </p:blipFill>
        <p:spPr>
          <a:xfrm>
            <a:off x="20" y="10"/>
            <a:ext cx="12191980" cy="1850760"/>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24" name="Straight Connector 123">
            <a:extLst>
              <a:ext uri="{FF2B5EF4-FFF2-40B4-BE49-F238E27FC236}">
                <a16:creationId xmlns:a16="http://schemas.microsoft.com/office/drawing/2014/main" id="{8BC881F4-D908-FA4F-8416-45CFF68AA272}"/>
              </a:ext>
            </a:extLst>
          </p:cNvPr>
          <p:cNvCxnSpPr>
            <a:cxnSpLocks/>
          </p:cNvCxnSpPr>
          <p:nvPr/>
        </p:nvCxnSpPr>
        <p:spPr>
          <a:xfrm>
            <a:off x="7853648" y="2900038"/>
            <a:ext cx="0" cy="289364"/>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275F65D-B990-AD40-A100-4E1435D2A39B}"/>
              </a:ext>
            </a:extLst>
          </p:cNvPr>
          <p:cNvSpPr txBox="1"/>
          <p:nvPr/>
        </p:nvSpPr>
        <p:spPr>
          <a:xfrm>
            <a:off x="7925905" y="2718715"/>
            <a:ext cx="818813" cy="400110"/>
          </a:xfrm>
          <a:prstGeom prst="rect">
            <a:avLst/>
          </a:prstGeom>
          <a:noFill/>
        </p:spPr>
        <p:txBody>
          <a:bodyPr wrap="square" rtlCol="0">
            <a:spAutoFit/>
          </a:bodyPr>
          <a:lstStyle/>
          <a:p>
            <a:r>
              <a:rPr lang="en-US" sz="2000" b="1" dirty="0">
                <a:solidFill>
                  <a:srgbClr val="FF0000"/>
                </a:solidFill>
              </a:rPr>
              <a:t>2017</a:t>
            </a:r>
            <a:endParaRPr lang="en-GB" sz="2000" b="1" dirty="0">
              <a:solidFill>
                <a:srgbClr val="FF0000"/>
              </a:solidFill>
            </a:endParaRPr>
          </a:p>
        </p:txBody>
      </p:sp>
      <p:sp>
        <p:nvSpPr>
          <p:cNvPr id="137" name="TextBox 136">
            <a:extLst>
              <a:ext uri="{FF2B5EF4-FFF2-40B4-BE49-F238E27FC236}">
                <a16:creationId xmlns:a16="http://schemas.microsoft.com/office/drawing/2014/main" id="{8F35F08A-A70B-944A-ADBB-B433D17302D9}"/>
              </a:ext>
            </a:extLst>
          </p:cNvPr>
          <p:cNvSpPr txBox="1"/>
          <p:nvPr/>
        </p:nvSpPr>
        <p:spPr>
          <a:xfrm>
            <a:off x="7924720" y="2993267"/>
            <a:ext cx="3709745" cy="307777"/>
          </a:xfrm>
          <a:prstGeom prst="rect">
            <a:avLst/>
          </a:prstGeom>
          <a:noFill/>
        </p:spPr>
        <p:txBody>
          <a:bodyPr wrap="square" rtlCol="0">
            <a:spAutoFit/>
          </a:bodyPr>
          <a:lstStyle/>
          <a:p>
            <a:r>
              <a:rPr lang="en-US" sz="1400" dirty="0"/>
              <a:t>Build Foundation</a:t>
            </a:r>
          </a:p>
        </p:txBody>
      </p:sp>
      <p:cxnSp>
        <p:nvCxnSpPr>
          <p:cNvPr id="141" name="Straight Connector 140">
            <a:extLst>
              <a:ext uri="{FF2B5EF4-FFF2-40B4-BE49-F238E27FC236}">
                <a16:creationId xmlns:a16="http://schemas.microsoft.com/office/drawing/2014/main" id="{46F8F088-629C-E249-A968-99B7F9860AF1}"/>
              </a:ext>
            </a:extLst>
          </p:cNvPr>
          <p:cNvCxnSpPr>
            <a:cxnSpLocks/>
          </p:cNvCxnSpPr>
          <p:nvPr/>
        </p:nvCxnSpPr>
        <p:spPr>
          <a:xfrm>
            <a:off x="7853648" y="3601741"/>
            <a:ext cx="0" cy="289364"/>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9851C71-6F21-2D41-B48D-D0CC21DFCA54}"/>
              </a:ext>
            </a:extLst>
          </p:cNvPr>
          <p:cNvSpPr txBox="1"/>
          <p:nvPr/>
        </p:nvSpPr>
        <p:spPr>
          <a:xfrm>
            <a:off x="7925905" y="3420418"/>
            <a:ext cx="818813" cy="400110"/>
          </a:xfrm>
          <a:prstGeom prst="rect">
            <a:avLst/>
          </a:prstGeom>
          <a:noFill/>
        </p:spPr>
        <p:txBody>
          <a:bodyPr wrap="square" rtlCol="0">
            <a:spAutoFit/>
          </a:bodyPr>
          <a:lstStyle/>
          <a:p>
            <a:r>
              <a:rPr lang="en-US" sz="2000" b="1" dirty="0">
                <a:solidFill>
                  <a:schemeClr val="accent2"/>
                </a:solidFill>
              </a:rPr>
              <a:t>2018</a:t>
            </a:r>
            <a:endParaRPr lang="en-GB" sz="2000" b="1" dirty="0">
              <a:solidFill>
                <a:schemeClr val="accent2"/>
              </a:solidFill>
            </a:endParaRPr>
          </a:p>
        </p:txBody>
      </p:sp>
      <p:sp>
        <p:nvSpPr>
          <p:cNvPr id="148" name="TextBox 147">
            <a:extLst>
              <a:ext uri="{FF2B5EF4-FFF2-40B4-BE49-F238E27FC236}">
                <a16:creationId xmlns:a16="http://schemas.microsoft.com/office/drawing/2014/main" id="{F51F1BBA-EC59-6940-9673-035630F2C26B}"/>
              </a:ext>
            </a:extLst>
          </p:cNvPr>
          <p:cNvSpPr txBox="1"/>
          <p:nvPr/>
        </p:nvSpPr>
        <p:spPr>
          <a:xfrm>
            <a:off x="7924720" y="3694970"/>
            <a:ext cx="3709745" cy="307777"/>
          </a:xfrm>
          <a:prstGeom prst="rect">
            <a:avLst/>
          </a:prstGeom>
          <a:noFill/>
        </p:spPr>
        <p:txBody>
          <a:bodyPr wrap="square" rtlCol="0">
            <a:spAutoFit/>
          </a:bodyPr>
          <a:lstStyle/>
          <a:p>
            <a:r>
              <a:rPr lang="en-US" sz="1400" dirty="0"/>
              <a:t>Automation journey through trial and error</a:t>
            </a:r>
          </a:p>
        </p:txBody>
      </p:sp>
      <p:cxnSp>
        <p:nvCxnSpPr>
          <p:cNvPr id="66" name="Straight Connector 65">
            <a:extLst>
              <a:ext uri="{FF2B5EF4-FFF2-40B4-BE49-F238E27FC236}">
                <a16:creationId xmlns:a16="http://schemas.microsoft.com/office/drawing/2014/main" id="{8529F6ED-C939-D940-878E-F855B6C4DBDB}"/>
              </a:ext>
            </a:extLst>
          </p:cNvPr>
          <p:cNvCxnSpPr>
            <a:cxnSpLocks/>
          </p:cNvCxnSpPr>
          <p:nvPr/>
        </p:nvCxnSpPr>
        <p:spPr>
          <a:xfrm>
            <a:off x="7853648" y="4323241"/>
            <a:ext cx="0" cy="289364"/>
          </a:xfrm>
          <a:prstGeom prst="line">
            <a:avLst/>
          </a:prstGeom>
          <a:ln>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697C89EA-B6ED-0848-9E7D-F56605463309}"/>
              </a:ext>
            </a:extLst>
          </p:cNvPr>
          <p:cNvSpPr txBox="1"/>
          <p:nvPr/>
        </p:nvSpPr>
        <p:spPr>
          <a:xfrm>
            <a:off x="7925905" y="4141918"/>
            <a:ext cx="818813" cy="400110"/>
          </a:xfrm>
          <a:prstGeom prst="rect">
            <a:avLst/>
          </a:prstGeom>
          <a:noFill/>
        </p:spPr>
        <p:txBody>
          <a:bodyPr wrap="square" rtlCol="0">
            <a:spAutoFit/>
          </a:bodyPr>
          <a:lstStyle/>
          <a:p>
            <a:r>
              <a:rPr lang="en-US" sz="2000" b="1" dirty="0">
                <a:solidFill>
                  <a:srgbClr val="F5CE24"/>
                </a:solidFill>
              </a:rPr>
              <a:t>2019</a:t>
            </a:r>
            <a:endParaRPr lang="en-GB" sz="2000" b="1" dirty="0">
              <a:solidFill>
                <a:srgbClr val="F5CE24"/>
              </a:solidFill>
            </a:endParaRPr>
          </a:p>
        </p:txBody>
      </p:sp>
      <p:sp>
        <p:nvSpPr>
          <p:cNvPr id="68" name="TextBox 67">
            <a:extLst>
              <a:ext uri="{FF2B5EF4-FFF2-40B4-BE49-F238E27FC236}">
                <a16:creationId xmlns:a16="http://schemas.microsoft.com/office/drawing/2014/main" id="{E4867EA9-3A7B-E148-B679-226E7A5CF181}"/>
              </a:ext>
            </a:extLst>
          </p:cNvPr>
          <p:cNvSpPr txBox="1"/>
          <p:nvPr/>
        </p:nvSpPr>
        <p:spPr>
          <a:xfrm>
            <a:off x="7924720" y="4416470"/>
            <a:ext cx="4263156" cy="307777"/>
          </a:xfrm>
          <a:prstGeom prst="rect">
            <a:avLst/>
          </a:prstGeom>
          <a:noFill/>
        </p:spPr>
        <p:txBody>
          <a:bodyPr wrap="square" rtlCol="0">
            <a:spAutoFit/>
          </a:bodyPr>
          <a:lstStyle/>
          <a:p>
            <a:r>
              <a:rPr lang="en-IN" sz="1400" dirty="0">
                <a:ea typeface="Lato Light" panose="020F0502020204030203" pitchFamily="34" charset="0"/>
                <a:cs typeface="Segoe UI Light" panose="020B0502040204020203" pitchFamily="34" charset="0"/>
              </a:rPr>
              <a:t>Standardize tools, best practices, and continuous testing</a:t>
            </a:r>
            <a:endParaRPr lang="en-US" sz="1400" dirty="0"/>
          </a:p>
        </p:txBody>
      </p:sp>
    </p:spTree>
    <p:extLst>
      <p:ext uri="{BB962C8B-B14F-4D97-AF65-F5344CB8AC3E}">
        <p14:creationId xmlns:p14="http://schemas.microsoft.com/office/powerpoint/2010/main" val="3231092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light&#10;&#10;Description automatically generated">
            <a:extLst>
              <a:ext uri="{FF2B5EF4-FFF2-40B4-BE49-F238E27FC236}">
                <a16:creationId xmlns:a16="http://schemas.microsoft.com/office/drawing/2014/main" id="{324B9611-333C-BB47-8827-EB8271760F3D}"/>
              </a:ext>
            </a:extLst>
          </p:cNvPr>
          <p:cNvPicPr>
            <a:picLocks noChangeAspect="1"/>
          </p:cNvPicPr>
          <p:nvPr/>
        </p:nvPicPr>
        <p:blipFill>
          <a:blip r:embed="rId3"/>
          <a:stretch>
            <a:fillRect/>
          </a:stretch>
        </p:blipFill>
        <p:spPr>
          <a:xfrm>
            <a:off x="6445936" y="2364504"/>
            <a:ext cx="1335455" cy="4131065"/>
          </a:xfrm>
          <a:prstGeom prst="rect">
            <a:avLst/>
          </a:prstGeom>
        </p:spPr>
      </p:pic>
      <p:grpSp>
        <p:nvGrpSpPr>
          <p:cNvPr id="10" name="Group 9"/>
          <p:cNvGrpSpPr/>
          <p:nvPr/>
        </p:nvGrpSpPr>
        <p:grpSpPr>
          <a:xfrm>
            <a:off x="5543550" y="3038514"/>
            <a:ext cx="816271" cy="1610440"/>
            <a:chOff x="5732595" y="1773497"/>
            <a:chExt cx="1137880" cy="2152837"/>
          </a:xfrm>
        </p:grpSpPr>
        <p:grpSp>
          <p:nvGrpSpPr>
            <p:cNvPr id="90" name="Group 89"/>
            <p:cNvGrpSpPr/>
            <p:nvPr/>
          </p:nvGrpSpPr>
          <p:grpSpPr>
            <a:xfrm>
              <a:off x="5732595" y="1773497"/>
              <a:ext cx="1137880" cy="2152837"/>
              <a:chOff x="6940174" y="3246442"/>
              <a:chExt cx="1175340" cy="2223712"/>
            </a:xfrm>
          </p:grpSpPr>
          <p:grpSp>
            <p:nvGrpSpPr>
              <p:cNvPr id="91" name="Group 90"/>
              <p:cNvGrpSpPr/>
              <p:nvPr/>
            </p:nvGrpSpPr>
            <p:grpSpPr>
              <a:xfrm>
                <a:off x="6940174" y="3246442"/>
                <a:ext cx="1175340" cy="2192500"/>
                <a:chOff x="5455241" y="1480656"/>
                <a:chExt cx="1517619" cy="2830995"/>
              </a:xfrm>
            </p:grpSpPr>
            <p:grpSp>
              <p:nvGrpSpPr>
                <p:cNvPr id="93" name="Group 92"/>
                <p:cNvGrpSpPr/>
                <p:nvPr/>
              </p:nvGrpSpPr>
              <p:grpSpPr>
                <a:xfrm>
                  <a:off x="6083422" y="2925441"/>
                  <a:ext cx="246291" cy="1386210"/>
                  <a:chOff x="2641600" y="3431522"/>
                  <a:chExt cx="246291" cy="2446764"/>
                </a:xfrm>
              </p:grpSpPr>
              <p:sp>
                <p:nvSpPr>
                  <p:cNvPr id="96" name="Rectangle 95"/>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4" name="Flowchart: Connector 93"/>
                <p:cNvSpPr/>
                <p:nvPr/>
              </p:nvSpPr>
              <p:spPr>
                <a:xfrm>
                  <a:off x="5455241" y="1480656"/>
                  <a:ext cx="1517619" cy="1517619"/>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lowchart: Connector 94"/>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Oval 91"/>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8" name="Freeform 30"/>
            <p:cNvSpPr>
              <a:spLocks noChangeArrowheads="1"/>
            </p:cNvSpPr>
            <p:nvPr/>
          </p:nvSpPr>
          <p:spPr bwMode="auto">
            <a:xfrm>
              <a:off x="6078746" y="2124447"/>
              <a:ext cx="445580" cy="423301"/>
            </a:xfrm>
            <a:custGeom>
              <a:avLst/>
              <a:gdLst>
                <a:gd name="T0" fmla="*/ 59356 w 498"/>
                <a:gd name="T1" fmla="*/ 210688 h 470"/>
                <a:gd name="T2" fmla="*/ 59356 w 498"/>
                <a:gd name="T3" fmla="*/ 210688 h 470"/>
                <a:gd name="T4" fmla="*/ 83009 w 498"/>
                <a:gd name="T5" fmla="*/ 210688 h 470"/>
                <a:gd name="T6" fmla="*/ 130762 w 498"/>
                <a:gd name="T7" fmla="*/ 119045 h 470"/>
                <a:gd name="T8" fmla="*/ 190117 w 498"/>
                <a:gd name="T9" fmla="*/ 119045 h 470"/>
                <a:gd name="T10" fmla="*/ 221804 w 498"/>
                <a:gd name="T11" fmla="*/ 103322 h 470"/>
                <a:gd name="T12" fmla="*/ 190117 w 498"/>
                <a:gd name="T13" fmla="*/ 87599 h 470"/>
                <a:gd name="T14" fmla="*/ 130762 w 498"/>
                <a:gd name="T15" fmla="*/ 87599 h 470"/>
                <a:gd name="T16" fmla="*/ 83009 w 498"/>
                <a:gd name="T17" fmla="*/ 0 h 470"/>
                <a:gd name="T18" fmla="*/ 59356 w 498"/>
                <a:gd name="T19" fmla="*/ 0 h 470"/>
                <a:gd name="T20" fmla="*/ 87026 w 498"/>
                <a:gd name="T21" fmla="*/ 87599 h 470"/>
                <a:gd name="T22" fmla="*/ 47753 w 498"/>
                <a:gd name="T23" fmla="*/ 87599 h 470"/>
                <a:gd name="T24" fmla="*/ 23653 w 498"/>
                <a:gd name="T25" fmla="*/ 67384 h 470"/>
                <a:gd name="T26" fmla="*/ 0 w 498"/>
                <a:gd name="T27" fmla="*/ 67384 h 470"/>
                <a:gd name="T28" fmla="*/ 16066 w 498"/>
                <a:gd name="T29" fmla="*/ 103322 h 470"/>
                <a:gd name="T30" fmla="*/ 0 w 498"/>
                <a:gd name="T31" fmla="*/ 143304 h 470"/>
                <a:gd name="T32" fmla="*/ 23653 w 498"/>
                <a:gd name="T33" fmla="*/ 143304 h 470"/>
                <a:gd name="T34" fmla="*/ 47753 w 498"/>
                <a:gd name="T35" fmla="*/ 119045 h 470"/>
                <a:gd name="T36" fmla="*/ 87026 w 498"/>
                <a:gd name="T37" fmla="*/ 119045 h 470"/>
                <a:gd name="T38" fmla="*/ 59356 w 498"/>
                <a:gd name="T39" fmla="*/ 210688 h 4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98" h="470">
                  <a:moveTo>
                    <a:pt x="133" y="469"/>
                  </a:moveTo>
                  <a:lnTo>
                    <a:pt x="133" y="469"/>
                  </a:lnTo>
                  <a:cubicBezTo>
                    <a:pt x="186" y="469"/>
                    <a:pt x="186" y="469"/>
                    <a:pt x="186" y="469"/>
                  </a:cubicBezTo>
                  <a:cubicBezTo>
                    <a:pt x="293" y="265"/>
                    <a:pt x="293" y="265"/>
                    <a:pt x="293" y="265"/>
                  </a:cubicBezTo>
                  <a:cubicBezTo>
                    <a:pt x="426" y="265"/>
                    <a:pt x="426" y="265"/>
                    <a:pt x="426" y="265"/>
                  </a:cubicBezTo>
                  <a:cubicBezTo>
                    <a:pt x="426" y="265"/>
                    <a:pt x="497" y="265"/>
                    <a:pt x="497" y="230"/>
                  </a:cubicBezTo>
                  <a:cubicBezTo>
                    <a:pt x="497" y="195"/>
                    <a:pt x="426" y="195"/>
                    <a:pt x="426" y="195"/>
                  </a:cubicBezTo>
                  <a:cubicBezTo>
                    <a:pt x="293" y="195"/>
                    <a:pt x="293" y="195"/>
                    <a:pt x="293" y="195"/>
                  </a:cubicBezTo>
                  <a:cubicBezTo>
                    <a:pt x="186" y="0"/>
                    <a:pt x="186" y="0"/>
                    <a:pt x="186" y="0"/>
                  </a:cubicBezTo>
                  <a:cubicBezTo>
                    <a:pt x="133" y="0"/>
                    <a:pt x="133" y="0"/>
                    <a:pt x="133" y="0"/>
                  </a:cubicBezTo>
                  <a:cubicBezTo>
                    <a:pt x="195" y="195"/>
                    <a:pt x="195" y="195"/>
                    <a:pt x="195" y="195"/>
                  </a:cubicBezTo>
                  <a:cubicBezTo>
                    <a:pt x="107" y="195"/>
                    <a:pt x="107" y="195"/>
                    <a:pt x="107" y="195"/>
                  </a:cubicBezTo>
                  <a:cubicBezTo>
                    <a:pt x="53" y="150"/>
                    <a:pt x="53" y="150"/>
                    <a:pt x="53" y="150"/>
                  </a:cubicBezTo>
                  <a:cubicBezTo>
                    <a:pt x="0" y="150"/>
                    <a:pt x="0" y="150"/>
                    <a:pt x="0" y="150"/>
                  </a:cubicBezTo>
                  <a:cubicBezTo>
                    <a:pt x="36" y="230"/>
                    <a:pt x="36" y="230"/>
                    <a:pt x="36" y="230"/>
                  </a:cubicBezTo>
                  <a:cubicBezTo>
                    <a:pt x="0" y="319"/>
                    <a:pt x="0" y="319"/>
                    <a:pt x="0" y="319"/>
                  </a:cubicBezTo>
                  <a:cubicBezTo>
                    <a:pt x="53" y="319"/>
                    <a:pt x="53" y="319"/>
                    <a:pt x="53" y="319"/>
                  </a:cubicBezTo>
                  <a:cubicBezTo>
                    <a:pt x="107" y="265"/>
                    <a:pt x="107" y="265"/>
                    <a:pt x="107" y="265"/>
                  </a:cubicBezTo>
                  <a:cubicBezTo>
                    <a:pt x="195" y="265"/>
                    <a:pt x="195" y="265"/>
                    <a:pt x="195" y="265"/>
                  </a:cubicBezTo>
                  <a:lnTo>
                    <a:pt x="133" y="469"/>
                  </a:lnTo>
                </a:path>
              </a:pathLst>
            </a:custGeom>
            <a:solidFill>
              <a:schemeClr val="accent2"/>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grpSp>
      <p:grpSp>
        <p:nvGrpSpPr>
          <p:cNvPr id="9" name="Group 8"/>
          <p:cNvGrpSpPr/>
          <p:nvPr/>
        </p:nvGrpSpPr>
        <p:grpSpPr>
          <a:xfrm>
            <a:off x="-3003711" y="2139869"/>
            <a:ext cx="9381737" cy="5023175"/>
            <a:chOff x="-3859698" y="1008495"/>
            <a:chExt cx="11034207" cy="6676202"/>
          </a:xfrm>
        </p:grpSpPr>
        <p:grpSp>
          <p:nvGrpSpPr>
            <p:cNvPr id="29" name="Group 28"/>
            <p:cNvGrpSpPr/>
            <p:nvPr/>
          </p:nvGrpSpPr>
          <p:grpSpPr>
            <a:xfrm>
              <a:off x="-322072" y="1008495"/>
              <a:ext cx="7496581" cy="6676202"/>
              <a:chOff x="-322072" y="1008495"/>
              <a:chExt cx="7496581" cy="6676202"/>
            </a:xfrm>
          </p:grpSpPr>
          <p:sp>
            <p:nvSpPr>
              <p:cNvPr id="30" name="Freeform 169"/>
              <p:cNvSpPr>
                <a:spLocks/>
              </p:cNvSpPr>
              <p:nvPr/>
            </p:nvSpPr>
            <p:spPr bwMode="auto">
              <a:xfrm>
                <a:off x="-285249" y="1127529"/>
                <a:ext cx="7401525" cy="6557168"/>
              </a:xfrm>
              <a:custGeom>
                <a:avLst/>
                <a:gdLst>
                  <a:gd name="T0" fmla="*/ 3643 w 3657"/>
                  <a:gd name="T1" fmla="*/ 2265 h 3238"/>
                  <a:gd name="T2" fmla="*/ 3625 w 3657"/>
                  <a:gd name="T3" fmla="*/ 2395 h 3238"/>
                  <a:gd name="T4" fmla="*/ 3619 w 3657"/>
                  <a:gd name="T5" fmla="*/ 2445 h 3238"/>
                  <a:gd name="T6" fmla="*/ 3653 w 3657"/>
                  <a:gd name="T7" fmla="*/ 2937 h 3238"/>
                  <a:gd name="T8" fmla="*/ 3644 w 3657"/>
                  <a:gd name="T9" fmla="*/ 3018 h 3238"/>
                  <a:gd name="T10" fmla="*/ 3583 w 3657"/>
                  <a:gd name="T11" fmla="*/ 3005 h 3238"/>
                  <a:gd name="T12" fmla="*/ 3514 w 3657"/>
                  <a:gd name="T13" fmla="*/ 2981 h 3238"/>
                  <a:gd name="T14" fmla="*/ 3361 w 3657"/>
                  <a:gd name="T15" fmla="*/ 3013 h 3238"/>
                  <a:gd name="T16" fmla="*/ 3118 w 3657"/>
                  <a:gd name="T17" fmla="*/ 3109 h 3238"/>
                  <a:gd name="T18" fmla="*/ 3066 w 3657"/>
                  <a:gd name="T19" fmla="*/ 3095 h 3238"/>
                  <a:gd name="T20" fmla="*/ 3023 w 3657"/>
                  <a:gd name="T21" fmla="*/ 3068 h 3238"/>
                  <a:gd name="T22" fmla="*/ 2804 w 3657"/>
                  <a:gd name="T23" fmla="*/ 3054 h 3238"/>
                  <a:gd name="T24" fmla="*/ 2732 w 3657"/>
                  <a:gd name="T25" fmla="*/ 3085 h 3238"/>
                  <a:gd name="T26" fmla="*/ 2197 w 3657"/>
                  <a:gd name="T27" fmla="*/ 2960 h 3238"/>
                  <a:gd name="T28" fmla="*/ 1900 w 3657"/>
                  <a:gd name="T29" fmla="*/ 2963 h 3238"/>
                  <a:gd name="T30" fmla="*/ 1829 w 3657"/>
                  <a:gd name="T31" fmla="*/ 2968 h 3238"/>
                  <a:gd name="T32" fmla="*/ 1696 w 3657"/>
                  <a:gd name="T33" fmla="*/ 2901 h 3238"/>
                  <a:gd name="T34" fmla="*/ 2030 w 3657"/>
                  <a:gd name="T35" fmla="*/ 2641 h 3238"/>
                  <a:gd name="T36" fmla="*/ 2094 w 3657"/>
                  <a:gd name="T37" fmla="*/ 2587 h 3238"/>
                  <a:gd name="T38" fmla="*/ 2154 w 3657"/>
                  <a:gd name="T39" fmla="*/ 2530 h 3238"/>
                  <a:gd name="T40" fmla="*/ 2292 w 3657"/>
                  <a:gd name="T41" fmla="*/ 2330 h 3238"/>
                  <a:gd name="T42" fmla="*/ 2324 w 3657"/>
                  <a:gd name="T43" fmla="*/ 2249 h 3238"/>
                  <a:gd name="T44" fmla="*/ 2349 w 3657"/>
                  <a:gd name="T45" fmla="*/ 1866 h 3238"/>
                  <a:gd name="T46" fmla="*/ 1824 w 3657"/>
                  <a:gd name="T47" fmla="*/ 1548 h 3238"/>
                  <a:gd name="T48" fmla="*/ 1060 w 3657"/>
                  <a:gd name="T49" fmla="*/ 1492 h 3238"/>
                  <a:gd name="T50" fmla="*/ 263 w 3657"/>
                  <a:gd name="T51" fmla="*/ 1128 h 3238"/>
                  <a:gd name="T52" fmla="*/ 258 w 3657"/>
                  <a:gd name="T53" fmla="*/ 997 h 3238"/>
                  <a:gd name="T54" fmla="*/ 317 w 3657"/>
                  <a:gd name="T55" fmla="*/ 881 h 3238"/>
                  <a:gd name="T56" fmla="*/ 738 w 3657"/>
                  <a:gd name="T57" fmla="*/ 631 h 3238"/>
                  <a:gd name="T58" fmla="*/ 915 w 3657"/>
                  <a:gd name="T59" fmla="*/ 576 h 3238"/>
                  <a:gd name="T60" fmla="*/ 1225 w 3657"/>
                  <a:gd name="T61" fmla="*/ 404 h 3238"/>
                  <a:gd name="T62" fmla="*/ 1170 w 3657"/>
                  <a:gd name="T63" fmla="*/ 345 h 3238"/>
                  <a:gd name="T64" fmla="*/ 772 w 3657"/>
                  <a:gd name="T65" fmla="*/ 259 h 3238"/>
                  <a:gd name="T66" fmla="*/ 335 w 3657"/>
                  <a:gd name="T67" fmla="*/ 238 h 3238"/>
                  <a:gd name="T68" fmla="*/ 78 w 3657"/>
                  <a:gd name="T69" fmla="*/ 227 h 3238"/>
                  <a:gd name="T70" fmla="*/ 49 w 3657"/>
                  <a:gd name="T71" fmla="*/ 127 h 3238"/>
                  <a:gd name="T72" fmla="*/ 25 w 3657"/>
                  <a:gd name="T73" fmla="*/ 67 h 3238"/>
                  <a:gd name="T74" fmla="*/ 7 w 3657"/>
                  <a:gd name="T75" fmla="*/ 15 h 3238"/>
                  <a:gd name="T76" fmla="*/ 92 w 3657"/>
                  <a:gd name="T77" fmla="*/ 2 h 3238"/>
                  <a:gd name="T78" fmla="*/ 114 w 3657"/>
                  <a:gd name="T79" fmla="*/ 3 h 3238"/>
                  <a:gd name="T80" fmla="*/ 361 w 3657"/>
                  <a:gd name="T81" fmla="*/ 10 h 3238"/>
                  <a:gd name="T82" fmla="*/ 851 w 3657"/>
                  <a:gd name="T83" fmla="*/ 65 h 3238"/>
                  <a:gd name="T84" fmla="*/ 865 w 3657"/>
                  <a:gd name="T85" fmla="*/ 67 h 3238"/>
                  <a:gd name="T86" fmla="*/ 1055 w 3657"/>
                  <a:gd name="T87" fmla="*/ 95 h 3238"/>
                  <a:gd name="T88" fmla="*/ 1450 w 3657"/>
                  <a:gd name="T89" fmla="*/ 183 h 3238"/>
                  <a:gd name="T90" fmla="*/ 1733 w 3657"/>
                  <a:gd name="T91" fmla="*/ 524 h 3238"/>
                  <a:gd name="T92" fmla="*/ 1362 w 3657"/>
                  <a:gd name="T93" fmla="*/ 752 h 3238"/>
                  <a:gd name="T94" fmla="*/ 933 w 3657"/>
                  <a:gd name="T95" fmla="*/ 921 h 3238"/>
                  <a:gd name="T96" fmla="*/ 958 w 3657"/>
                  <a:gd name="T97" fmla="*/ 1052 h 3238"/>
                  <a:gd name="T98" fmla="*/ 1477 w 3657"/>
                  <a:gd name="T99" fmla="*/ 1131 h 3238"/>
                  <a:gd name="T100" fmla="*/ 1552 w 3657"/>
                  <a:gd name="T101" fmla="*/ 1131 h 3238"/>
                  <a:gd name="T102" fmla="*/ 1751 w 3657"/>
                  <a:gd name="T103" fmla="*/ 1129 h 3238"/>
                  <a:gd name="T104" fmla="*/ 2044 w 3657"/>
                  <a:gd name="T105" fmla="*/ 1128 h 3238"/>
                  <a:gd name="T106" fmla="*/ 3624 w 3657"/>
                  <a:gd name="T107" fmla="*/ 2178 h 3238"/>
                  <a:gd name="T108" fmla="*/ 3643 w 3657"/>
                  <a:gd name="T109" fmla="*/ 2265 h 3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57" h="3238">
                    <a:moveTo>
                      <a:pt x="3643" y="2265"/>
                    </a:moveTo>
                    <a:cubicBezTo>
                      <a:pt x="3643" y="2265"/>
                      <a:pt x="3635" y="2320"/>
                      <a:pt x="3625" y="2395"/>
                    </a:cubicBezTo>
                    <a:cubicBezTo>
                      <a:pt x="3623" y="2411"/>
                      <a:pt x="3621" y="2427"/>
                      <a:pt x="3619" y="2445"/>
                    </a:cubicBezTo>
                    <a:cubicBezTo>
                      <a:pt x="3587" y="2607"/>
                      <a:pt x="3643" y="2769"/>
                      <a:pt x="3653" y="2937"/>
                    </a:cubicBezTo>
                    <a:cubicBezTo>
                      <a:pt x="3655" y="2967"/>
                      <a:pt x="3657" y="3000"/>
                      <a:pt x="3644" y="3018"/>
                    </a:cubicBezTo>
                    <a:cubicBezTo>
                      <a:pt x="3635" y="3032"/>
                      <a:pt x="3603" y="3014"/>
                      <a:pt x="3583" y="3005"/>
                    </a:cubicBezTo>
                    <a:cubicBezTo>
                      <a:pt x="3560" y="2996"/>
                      <a:pt x="3537" y="2987"/>
                      <a:pt x="3514" y="2981"/>
                    </a:cubicBezTo>
                    <a:cubicBezTo>
                      <a:pt x="3458" y="2967"/>
                      <a:pt x="3408" y="2988"/>
                      <a:pt x="3361" y="3013"/>
                    </a:cubicBezTo>
                    <a:cubicBezTo>
                      <a:pt x="3281" y="3058"/>
                      <a:pt x="3207" y="3118"/>
                      <a:pt x="3118" y="3109"/>
                    </a:cubicBezTo>
                    <a:cubicBezTo>
                      <a:pt x="3099" y="3108"/>
                      <a:pt x="3082" y="3103"/>
                      <a:pt x="3066" y="3095"/>
                    </a:cubicBezTo>
                    <a:cubicBezTo>
                      <a:pt x="3050" y="3088"/>
                      <a:pt x="3036" y="3079"/>
                      <a:pt x="3023" y="3068"/>
                    </a:cubicBezTo>
                    <a:cubicBezTo>
                      <a:pt x="2949" y="3020"/>
                      <a:pt x="2876" y="3028"/>
                      <a:pt x="2804" y="3054"/>
                    </a:cubicBezTo>
                    <a:cubicBezTo>
                      <a:pt x="2779" y="3063"/>
                      <a:pt x="2755" y="3074"/>
                      <a:pt x="2732" y="3085"/>
                    </a:cubicBezTo>
                    <a:cubicBezTo>
                      <a:pt x="2552" y="3238"/>
                      <a:pt x="2332" y="3162"/>
                      <a:pt x="2197" y="2960"/>
                    </a:cubicBezTo>
                    <a:cubicBezTo>
                      <a:pt x="2137" y="2872"/>
                      <a:pt x="1997" y="2937"/>
                      <a:pt x="1900" y="2963"/>
                    </a:cubicBezTo>
                    <a:cubicBezTo>
                      <a:pt x="1876" y="2968"/>
                      <a:pt x="1852" y="2970"/>
                      <a:pt x="1829" y="2968"/>
                    </a:cubicBezTo>
                    <a:cubicBezTo>
                      <a:pt x="1782" y="2964"/>
                      <a:pt x="1738" y="2945"/>
                      <a:pt x="1696" y="2901"/>
                    </a:cubicBezTo>
                    <a:cubicBezTo>
                      <a:pt x="1798" y="2809"/>
                      <a:pt x="1920" y="2729"/>
                      <a:pt x="2030" y="2641"/>
                    </a:cubicBezTo>
                    <a:cubicBezTo>
                      <a:pt x="2052" y="2623"/>
                      <a:pt x="2073" y="2605"/>
                      <a:pt x="2094" y="2587"/>
                    </a:cubicBezTo>
                    <a:cubicBezTo>
                      <a:pt x="2115" y="2568"/>
                      <a:pt x="2135" y="2550"/>
                      <a:pt x="2154" y="2530"/>
                    </a:cubicBezTo>
                    <a:cubicBezTo>
                      <a:pt x="2211" y="2471"/>
                      <a:pt x="2259" y="2406"/>
                      <a:pt x="2292" y="2330"/>
                    </a:cubicBezTo>
                    <a:cubicBezTo>
                      <a:pt x="2304" y="2303"/>
                      <a:pt x="2315" y="2277"/>
                      <a:pt x="2324" y="2249"/>
                    </a:cubicBezTo>
                    <a:cubicBezTo>
                      <a:pt x="2373" y="2114"/>
                      <a:pt x="2388" y="1973"/>
                      <a:pt x="2349" y="1866"/>
                    </a:cubicBezTo>
                    <a:cubicBezTo>
                      <a:pt x="2274" y="1654"/>
                      <a:pt x="2096" y="1579"/>
                      <a:pt x="1824" y="1548"/>
                    </a:cubicBezTo>
                    <a:cubicBezTo>
                      <a:pt x="1572" y="1519"/>
                      <a:pt x="1312" y="1523"/>
                      <a:pt x="1060" y="1492"/>
                    </a:cubicBezTo>
                    <a:cubicBezTo>
                      <a:pt x="771" y="1456"/>
                      <a:pt x="342" y="1382"/>
                      <a:pt x="263" y="1128"/>
                    </a:cubicBezTo>
                    <a:cubicBezTo>
                      <a:pt x="249" y="1082"/>
                      <a:pt x="248" y="1039"/>
                      <a:pt x="258" y="997"/>
                    </a:cubicBezTo>
                    <a:cubicBezTo>
                      <a:pt x="268" y="956"/>
                      <a:pt x="289" y="917"/>
                      <a:pt x="317" y="881"/>
                    </a:cubicBezTo>
                    <a:cubicBezTo>
                      <a:pt x="426" y="756"/>
                      <a:pt x="582" y="684"/>
                      <a:pt x="738" y="631"/>
                    </a:cubicBezTo>
                    <a:cubicBezTo>
                      <a:pt x="796" y="611"/>
                      <a:pt x="856" y="593"/>
                      <a:pt x="915" y="576"/>
                    </a:cubicBezTo>
                    <a:cubicBezTo>
                      <a:pt x="985" y="556"/>
                      <a:pt x="1261" y="511"/>
                      <a:pt x="1225" y="404"/>
                    </a:cubicBezTo>
                    <a:cubicBezTo>
                      <a:pt x="1216" y="378"/>
                      <a:pt x="1195" y="358"/>
                      <a:pt x="1170" y="345"/>
                    </a:cubicBezTo>
                    <a:cubicBezTo>
                      <a:pt x="1049" y="284"/>
                      <a:pt x="907" y="268"/>
                      <a:pt x="772" y="259"/>
                    </a:cubicBezTo>
                    <a:cubicBezTo>
                      <a:pt x="627" y="249"/>
                      <a:pt x="481" y="244"/>
                      <a:pt x="335" y="238"/>
                    </a:cubicBezTo>
                    <a:cubicBezTo>
                      <a:pt x="316" y="237"/>
                      <a:pt x="78" y="213"/>
                      <a:pt x="78" y="227"/>
                    </a:cubicBezTo>
                    <a:cubicBezTo>
                      <a:pt x="77" y="187"/>
                      <a:pt x="66" y="163"/>
                      <a:pt x="49" y="127"/>
                    </a:cubicBezTo>
                    <a:cubicBezTo>
                      <a:pt x="39" y="108"/>
                      <a:pt x="34" y="86"/>
                      <a:pt x="25" y="67"/>
                    </a:cubicBezTo>
                    <a:cubicBezTo>
                      <a:pt x="18" y="53"/>
                      <a:pt x="0" y="32"/>
                      <a:pt x="7" y="15"/>
                    </a:cubicBezTo>
                    <a:cubicBezTo>
                      <a:pt x="14" y="0"/>
                      <a:pt x="61" y="1"/>
                      <a:pt x="92" y="2"/>
                    </a:cubicBezTo>
                    <a:cubicBezTo>
                      <a:pt x="101" y="3"/>
                      <a:pt x="109" y="3"/>
                      <a:pt x="114" y="3"/>
                    </a:cubicBezTo>
                    <a:cubicBezTo>
                      <a:pt x="196" y="2"/>
                      <a:pt x="278" y="5"/>
                      <a:pt x="361" y="10"/>
                    </a:cubicBezTo>
                    <a:cubicBezTo>
                      <a:pt x="525" y="21"/>
                      <a:pt x="688" y="43"/>
                      <a:pt x="851" y="65"/>
                    </a:cubicBezTo>
                    <a:cubicBezTo>
                      <a:pt x="856" y="65"/>
                      <a:pt x="861" y="66"/>
                      <a:pt x="865" y="67"/>
                    </a:cubicBezTo>
                    <a:cubicBezTo>
                      <a:pt x="931" y="75"/>
                      <a:pt x="994" y="85"/>
                      <a:pt x="1055" y="95"/>
                    </a:cubicBezTo>
                    <a:cubicBezTo>
                      <a:pt x="1235" y="124"/>
                      <a:pt x="1389" y="157"/>
                      <a:pt x="1450" y="183"/>
                    </a:cubicBezTo>
                    <a:cubicBezTo>
                      <a:pt x="1623" y="256"/>
                      <a:pt x="1802" y="347"/>
                      <a:pt x="1733" y="524"/>
                    </a:cubicBezTo>
                    <a:cubicBezTo>
                      <a:pt x="1683" y="653"/>
                      <a:pt x="1520" y="713"/>
                      <a:pt x="1362" y="752"/>
                    </a:cubicBezTo>
                    <a:cubicBezTo>
                      <a:pt x="1249" y="780"/>
                      <a:pt x="990" y="833"/>
                      <a:pt x="933" y="921"/>
                    </a:cubicBezTo>
                    <a:cubicBezTo>
                      <a:pt x="905" y="964"/>
                      <a:pt x="918" y="1018"/>
                      <a:pt x="958" y="1052"/>
                    </a:cubicBezTo>
                    <a:cubicBezTo>
                      <a:pt x="1055" y="1133"/>
                      <a:pt x="1308" y="1132"/>
                      <a:pt x="1477" y="1131"/>
                    </a:cubicBezTo>
                    <a:cubicBezTo>
                      <a:pt x="1505" y="1131"/>
                      <a:pt x="1530" y="1131"/>
                      <a:pt x="1552" y="1131"/>
                    </a:cubicBezTo>
                    <a:cubicBezTo>
                      <a:pt x="1618" y="1132"/>
                      <a:pt x="1684" y="1130"/>
                      <a:pt x="1751" y="1129"/>
                    </a:cubicBezTo>
                    <a:cubicBezTo>
                      <a:pt x="1849" y="1126"/>
                      <a:pt x="1947" y="1123"/>
                      <a:pt x="2044" y="1128"/>
                    </a:cubicBezTo>
                    <a:cubicBezTo>
                      <a:pt x="2836" y="1171"/>
                      <a:pt x="3481" y="1598"/>
                      <a:pt x="3624" y="2178"/>
                    </a:cubicBezTo>
                    <a:cubicBezTo>
                      <a:pt x="3630" y="2203"/>
                      <a:pt x="3637" y="2233"/>
                      <a:pt x="3643" y="2265"/>
                    </a:cubicBezTo>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72"/>
              <p:cNvSpPr>
                <a:spLocks/>
              </p:cNvSpPr>
              <p:nvPr/>
            </p:nvSpPr>
            <p:spPr bwMode="auto">
              <a:xfrm>
                <a:off x="-285249" y="1100982"/>
                <a:ext cx="7401525" cy="6567444"/>
              </a:xfrm>
              <a:custGeom>
                <a:avLst/>
                <a:gdLst>
                  <a:gd name="T0" fmla="*/ 3643 w 3657"/>
                  <a:gd name="T1" fmla="*/ 2270 h 3243"/>
                  <a:gd name="T2" fmla="*/ 3625 w 3657"/>
                  <a:gd name="T3" fmla="*/ 2400 h 3243"/>
                  <a:gd name="T4" fmla="*/ 3619 w 3657"/>
                  <a:gd name="T5" fmla="*/ 2450 h 3243"/>
                  <a:gd name="T6" fmla="*/ 3653 w 3657"/>
                  <a:gd name="T7" fmla="*/ 2942 h 3243"/>
                  <a:gd name="T8" fmla="*/ 3644 w 3657"/>
                  <a:gd name="T9" fmla="*/ 3023 h 3243"/>
                  <a:gd name="T10" fmla="*/ 3583 w 3657"/>
                  <a:gd name="T11" fmla="*/ 3010 h 3243"/>
                  <a:gd name="T12" fmla="*/ 3514 w 3657"/>
                  <a:gd name="T13" fmla="*/ 2986 h 3243"/>
                  <a:gd name="T14" fmla="*/ 3361 w 3657"/>
                  <a:gd name="T15" fmla="*/ 3018 h 3243"/>
                  <a:gd name="T16" fmla="*/ 3118 w 3657"/>
                  <a:gd name="T17" fmla="*/ 3114 h 3243"/>
                  <a:gd name="T18" fmla="*/ 3066 w 3657"/>
                  <a:gd name="T19" fmla="*/ 3100 h 3243"/>
                  <a:gd name="T20" fmla="*/ 3023 w 3657"/>
                  <a:gd name="T21" fmla="*/ 3073 h 3243"/>
                  <a:gd name="T22" fmla="*/ 2804 w 3657"/>
                  <a:gd name="T23" fmla="*/ 3059 h 3243"/>
                  <a:gd name="T24" fmla="*/ 2732 w 3657"/>
                  <a:gd name="T25" fmla="*/ 3090 h 3243"/>
                  <a:gd name="T26" fmla="*/ 2197 w 3657"/>
                  <a:gd name="T27" fmla="*/ 2964 h 3243"/>
                  <a:gd name="T28" fmla="*/ 1900 w 3657"/>
                  <a:gd name="T29" fmla="*/ 2968 h 3243"/>
                  <a:gd name="T30" fmla="*/ 1829 w 3657"/>
                  <a:gd name="T31" fmla="*/ 2973 h 3243"/>
                  <a:gd name="T32" fmla="*/ 1696 w 3657"/>
                  <a:gd name="T33" fmla="*/ 2906 h 3243"/>
                  <a:gd name="T34" fmla="*/ 2030 w 3657"/>
                  <a:gd name="T35" fmla="*/ 2646 h 3243"/>
                  <a:gd name="T36" fmla="*/ 2094 w 3657"/>
                  <a:gd name="T37" fmla="*/ 2592 h 3243"/>
                  <a:gd name="T38" fmla="*/ 2154 w 3657"/>
                  <a:gd name="T39" fmla="*/ 2535 h 3243"/>
                  <a:gd name="T40" fmla="*/ 2292 w 3657"/>
                  <a:gd name="T41" fmla="*/ 2335 h 3243"/>
                  <a:gd name="T42" fmla="*/ 2324 w 3657"/>
                  <a:gd name="T43" fmla="*/ 2254 h 3243"/>
                  <a:gd name="T44" fmla="*/ 2349 w 3657"/>
                  <a:gd name="T45" fmla="*/ 1871 h 3243"/>
                  <a:gd name="T46" fmla="*/ 1824 w 3657"/>
                  <a:gd name="T47" fmla="*/ 1553 h 3243"/>
                  <a:gd name="T48" fmla="*/ 1060 w 3657"/>
                  <a:gd name="T49" fmla="*/ 1497 h 3243"/>
                  <a:gd name="T50" fmla="*/ 263 w 3657"/>
                  <a:gd name="T51" fmla="*/ 1133 h 3243"/>
                  <a:gd name="T52" fmla="*/ 258 w 3657"/>
                  <a:gd name="T53" fmla="*/ 1002 h 3243"/>
                  <a:gd name="T54" fmla="*/ 317 w 3657"/>
                  <a:gd name="T55" fmla="*/ 886 h 3243"/>
                  <a:gd name="T56" fmla="*/ 738 w 3657"/>
                  <a:gd name="T57" fmla="*/ 636 h 3243"/>
                  <a:gd name="T58" fmla="*/ 915 w 3657"/>
                  <a:gd name="T59" fmla="*/ 581 h 3243"/>
                  <a:gd name="T60" fmla="*/ 1225 w 3657"/>
                  <a:gd name="T61" fmla="*/ 409 h 3243"/>
                  <a:gd name="T62" fmla="*/ 1170 w 3657"/>
                  <a:gd name="T63" fmla="*/ 350 h 3243"/>
                  <a:gd name="T64" fmla="*/ 772 w 3657"/>
                  <a:gd name="T65" fmla="*/ 264 h 3243"/>
                  <a:gd name="T66" fmla="*/ 335 w 3657"/>
                  <a:gd name="T67" fmla="*/ 243 h 3243"/>
                  <a:gd name="T68" fmla="*/ 78 w 3657"/>
                  <a:gd name="T69" fmla="*/ 232 h 3243"/>
                  <a:gd name="T70" fmla="*/ 49 w 3657"/>
                  <a:gd name="T71" fmla="*/ 132 h 3243"/>
                  <a:gd name="T72" fmla="*/ 25 w 3657"/>
                  <a:gd name="T73" fmla="*/ 72 h 3243"/>
                  <a:gd name="T74" fmla="*/ 7 w 3657"/>
                  <a:gd name="T75" fmla="*/ 20 h 3243"/>
                  <a:gd name="T76" fmla="*/ 114 w 3657"/>
                  <a:gd name="T77" fmla="*/ 8 h 3243"/>
                  <a:gd name="T78" fmla="*/ 361 w 3657"/>
                  <a:gd name="T79" fmla="*/ 15 h 3243"/>
                  <a:gd name="T80" fmla="*/ 851 w 3657"/>
                  <a:gd name="T81" fmla="*/ 70 h 3243"/>
                  <a:gd name="T82" fmla="*/ 865 w 3657"/>
                  <a:gd name="T83" fmla="*/ 72 h 3243"/>
                  <a:gd name="T84" fmla="*/ 1055 w 3657"/>
                  <a:gd name="T85" fmla="*/ 100 h 3243"/>
                  <a:gd name="T86" fmla="*/ 1450 w 3657"/>
                  <a:gd name="T87" fmla="*/ 187 h 3243"/>
                  <a:gd name="T88" fmla="*/ 1733 w 3657"/>
                  <a:gd name="T89" fmla="*/ 529 h 3243"/>
                  <a:gd name="T90" fmla="*/ 1362 w 3657"/>
                  <a:gd name="T91" fmla="*/ 757 h 3243"/>
                  <a:gd name="T92" fmla="*/ 933 w 3657"/>
                  <a:gd name="T93" fmla="*/ 926 h 3243"/>
                  <a:gd name="T94" fmla="*/ 958 w 3657"/>
                  <a:gd name="T95" fmla="*/ 1057 h 3243"/>
                  <a:gd name="T96" fmla="*/ 1552 w 3657"/>
                  <a:gd name="T97" fmla="*/ 1136 h 3243"/>
                  <a:gd name="T98" fmla="*/ 2044 w 3657"/>
                  <a:gd name="T99" fmla="*/ 1133 h 3243"/>
                  <a:gd name="T100" fmla="*/ 3624 w 3657"/>
                  <a:gd name="T101" fmla="*/ 2183 h 3243"/>
                  <a:gd name="T102" fmla="*/ 3643 w 3657"/>
                  <a:gd name="T103" fmla="*/ 227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57" h="3243">
                    <a:moveTo>
                      <a:pt x="3643" y="2270"/>
                    </a:moveTo>
                    <a:cubicBezTo>
                      <a:pt x="3643" y="2270"/>
                      <a:pt x="3635" y="2325"/>
                      <a:pt x="3625" y="2400"/>
                    </a:cubicBezTo>
                    <a:cubicBezTo>
                      <a:pt x="3623" y="2416"/>
                      <a:pt x="3621" y="2432"/>
                      <a:pt x="3619" y="2450"/>
                    </a:cubicBezTo>
                    <a:cubicBezTo>
                      <a:pt x="3587" y="2612"/>
                      <a:pt x="3643" y="2774"/>
                      <a:pt x="3653" y="2942"/>
                    </a:cubicBezTo>
                    <a:cubicBezTo>
                      <a:pt x="3655" y="2972"/>
                      <a:pt x="3657" y="3005"/>
                      <a:pt x="3644" y="3023"/>
                    </a:cubicBezTo>
                    <a:cubicBezTo>
                      <a:pt x="3635" y="3037"/>
                      <a:pt x="3603" y="3019"/>
                      <a:pt x="3583" y="3010"/>
                    </a:cubicBezTo>
                    <a:cubicBezTo>
                      <a:pt x="3560" y="3001"/>
                      <a:pt x="3537" y="2992"/>
                      <a:pt x="3514" y="2986"/>
                    </a:cubicBezTo>
                    <a:cubicBezTo>
                      <a:pt x="3458" y="2972"/>
                      <a:pt x="3408" y="2993"/>
                      <a:pt x="3361" y="3018"/>
                    </a:cubicBezTo>
                    <a:cubicBezTo>
                      <a:pt x="3281" y="3063"/>
                      <a:pt x="3207" y="3123"/>
                      <a:pt x="3118" y="3114"/>
                    </a:cubicBezTo>
                    <a:cubicBezTo>
                      <a:pt x="3099" y="3113"/>
                      <a:pt x="3082" y="3108"/>
                      <a:pt x="3066" y="3100"/>
                    </a:cubicBezTo>
                    <a:cubicBezTo>
                      <a:pt x="3050" y="3093"/>
                      <a:pt x="3036" y="3084"/>
                      <a:pt x="3023" y="3073"/>
                    </a:cubicBezTo>
                    <a:cubicBezTo>
                      <a:pt x="2949" y="3025"/>
                      <a:pt x="2876" y="3033"/>
                      <a:pt x="2804" y="3059"/>
                    </a:cubicBezTo>
                    <a:cubicBezTo>
                      <a:pt x="2779" y="3068"/>
                      <a:pt x="2755" y="3079"/>
                      <a:pt x="2732" y="3090"/>
                    </a:cubicBezTo>
                    <a:cubicBezTo>
                      <a:pt x="2552" y="3243"/>
                      <a:pt x="2332" y="3167"/>
                      <a:pt x="2197" y="2964"/>
                    </a:cubicBezTo>
                    <a:cubicBezTo>
                      <a:pt x="2137" y="2877"/>
                      <a:pt x="1997" y="2942"/>
                      <a:pt x="1900" y="2968"/>
                    </a:cubicBezTo>
                    <a:cubicBezTo>
                      <a:pt x="1876" y="2973"/>
                      <a:pt x="1852" y="2975"/>
                      <a:pt x="1829" y="2973"/>
                    </a:cubicBezTo>
                    <a:cubicBezTo>
                      <a:pt x="1782" y="2969"/>
                      <a:pt x="1738" y="2950"/>
                      <a:pt x="1696" y="2906"/>
                    </a:cubicBezTo>
                    <a:cubicBezTo>
                      <a:pt x="1798" y="2814"/>
                      <a:pt x="1920" y="2734"/>
                      <a:pt x="2030" y="2646"/>
                    </a:cubicBezTo>
                    <a:cubicBezTo>
                      <a:pt x="2052" y="2628"/>
                      <a:pt x="2073" y="2610"/>
                      <a:pt x="2094" y="2592"/>
                    </a:cubicBezTo>
                    <a:cubicBezTo>
                      <a:pt x="2115" y="2573"/>
                      <a:pt x="2135" y="2554"/>
                      <a:pt x="2154" y="2535"/>
                    </a:cubicBezTo>
                    <a:cubicBezTo>
                      <a:pt x="2211" y="2476"/>
                      <a:pt x="2259" y="2411"/>
                      <a:pt x="2292" y="2335"/>
                    </a:cubicBezTo>
                    <a:cubicBezTo>
                      <a:pt x="2304" y="2308"/>
                      <a:pt x="2315" y="2281"/>
                      <a:pt x="2324" y="2254"/>
                    </a:cubicBezTo>
                    <a:cubicBezTo>
                      <a:pt x="2373" y="2119"/>
                      <a:pt x="2388" y="1978"/>
                      <a:pt x="2349" y="1871"/>
                    </a:cubicBezTo>
                    <a:cubicBezTo>
                      <a:pt x="2274" y="1659"/>
                      <a:pt x="2096" y="1584"/>
                      <a:pt x="1824" y="1553"/>
                    </a:cubicBezTo>
                    <a:cubicBezTo>
                      <a:pt x="1572" y="1524"/>
                      <a:pt x="1312" y="1528"/>
                      <a:pt x="1060" y="1497"/>
                    </a:cubicBezTo>
                    <a:cubicBezTo>
                      <a:pt x="771" y="1461"/>
                      <a:pt x="342" y="1387"/>
                      <a:pt x="263" y="1133"/>
                    </a:cubicBezTo>
                    <a:cubicBezTo>
                      <a:pt x="249" y="1087"/>
                      <a:pt x="248" y="1043"/>
                      <a:pt x="258" y="1002"/>
                    </a:cubicBezTo>
                    <a:cubicBezTo>
                      <a:pt x="268" y="961"/>
                      <a:pt x="289" y="922"/>
                      <a:pt x="317" y="886"/>
                    </a:cubicBezTo>
                    <a:cubicBezTo>
                      <a:pt x="426" y="761"/>
                      <a:pt x="582" y="689"/>
                      <a:pt x="738" y="636"/>
                    </a:cubicBezTo>
                    <a:cubicBezTo>
                      <a:pt x="796" y="615"/>
                      <a:pt x="856" y="598"/>
                      <a:pt x="915" y="581"/>
                    </a:cubicBezTo>
                    <a:cubicBezTo>
                      <a:pt x="985" y="561"/>
                      <a:pt x="1261" y="516"/>
                      <a:pt x="1225" y="409"/>
                    </a:cubicBezTo>
                    <a:cubicBezTo>
                      <a:pt x="1216" y="383"/>
                      <a:pt x="1195" y="363"/>
                      <a:pt x="1170" y="350"/>
                    </a:cubicBezTo>
                    <a:cubicBezTo>
                      <a:pt x="1049" y="289"/>
                      <a:pt x="907" y="273"/>
                      <a:pt x="772" y="264"/>
                    </a:cubicBezTo>
                    <a:cubicBezTo>
                      <a:pt x="627" y="254"/>
                      <a:pt x="481" y="249"/>
                      <a:pt x="335" y="243"/>
                    </a:cubicBezTo>
                    <a:cubicBezTo>
                      <a:pt x="316" y="242"/>
                      <a:pt x="78" y="218"/>
                      <a:pt x="78" y="232"/>
                    </a:cubicBezTo>
                    <a:cubicBezTo>
                      <a:pt x="77" y="192"/>
                      <a:pt x="66" y="168"/>
                      <a:pt x="49" y="132"/>
                    </a:cubicBezTo>
                    <a:cubicBezTo>
                      <a:pt x="39" y="113"/>
                      <a:pt x="34" y="91"/>
                      <a:pt x="25" y="72"/>
                    </a:cubicBezTo>
                    <a:cubicBezTo>
                      <a:pt x="18" y="58"/>
                      <a:pt x="0" y="37"/>
                      <a:pt x="7" y="20"/>
                    </a:cubicBezTo>
                    <a:cubicBezTo>
                      <a:pt x="16" y="0"/>
                      <a:pt x="93" y="8"/>
                      <a:pt x="114" y="8"/>
                    </a:cubicBezTo>
                    <a:cubicBezTo>
                      <a:pt x="196" y="7"/>
                      <a:pt x="278" y="9"/>
                      <a:pt x="361" y="15"/>
                    </a:cubicBezTo>
                    <a:cubicBezTo>
                      <a:pt x="525" y="26"/>
                      <a:pt x="688" y="48"/>
                      <a:pt x="851" y="70"/>
                    </a:cubicBezTo>
                    <a:cubicBezTo>
                      <a:pt x="856" y="70"/>
                      <a:pt x="861" y="71"/>
                      <a:pt x="865" y="72"/>
                    </a:cubicBezTo>
                    <a:cubicBezTo>
                      <a:pt x="931" y="80"/>
                      <a:pt x="994" y="90"/>
                      <a:pt x="1055" y="100"/>
                    </a:cubicBezTo>
                    <a:cubicBezTo>
                      <a:pt x="1235" y="129"/>
                      <a:pt x="1389" y="162"/>
                      <a:pt x="1450" y="187"/>
                    </a:cubicBezTo>
                    <a:cubicBezTo>
                      <a:pt x="1623" y="261"/>
                      <a:pt x="1802" y="352"/>
                      <a:pt x="1733" y="529"/>
                    </a:cubicBezTo>
                    <a:cubicBezTo>
                      <a:pt x="1683" y="657"/>
                      <a:pt x="1520" y="718"/>
                      <a:pt x="1362" y="757"/>
                    </a:cubicBezTo>
                    <a:cubicBezTo>
                      <a:pt x="1249" y="785"/>
                      <a:pt x="990" y="838"/>
                      <a:pt x="933" y="926"/>
                    </a:cubicBezTo>
                    <a:cubicBezTo>
                      <a:pt x="905" y="969"/>
                      <a:pt x="918" y="1023"/>
                      <a:pt x="958" y="1057"/>
                    </a:cubicBezTo>
                    <a:cubicBezTo>
                      <a:pt x="1070" y="1151"/>
                      <a:pt x="1393" y="1135"/>
                      <a:pt x="1552" y="1136"/>
                    </a:cubicBezTo>
                    <a:cubicBezTo>
                      <a:pt x="1715" y="1138"/>
                      <a:pt x="1882" y="1125"/>
                      <a:pt x="2044" y="1133"/>
                    </a:cubicBezTo>
                    <a:cubicBezTo>
                      <a:pt x="2836" y="1176"/>
                      <a:pt x="3481" y="1603"/>
                      <a:pt x="3624" y="2183"/>
                    </a:cubicBezTo>
                    <a:cubicBezTo>
                      <a:pt x="3630" y="2208"/>
                      <a:pt x="3637" y="2238"/>
                      <a:pt x="3643" y="2270"/>
                    </a:cubicBezTo>
                    <a:close/>
                  </a:path>
                </a:pathLst>
              </a:custGeom>
              <a:solidFill>
                <a:schemeClr val="tx2">
                  <a:lumMod val="75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73"/>
              <p:cNvSpPr>
                <a:spLocks/>
              </p:cNvSpPr>
              <p:nvPr/>
            </p:nvSpPr>
            <p:spPr bwMode="auto">
              <a:xfrm>
                <a:off x="-322072" y="1032473"/>
                <a:ext cx="7496581" cy="6566588"/>
              </a:xfrm>
              <a:custGeom>
                <a:avLst/>
                <a:gdLst>
                  <a:gd name="T0" fmla="*/ 3666 w 3704"/>
                  <a:gd name="T1" fmla="*/ 2260 h 3243"/>
                  <a:gd name="T2" fmla="*/ 3636 w 3704"/>
                  <a:gd name="T3" fmla="*/ 2488 h 3243"/>
                  <a:gd name="T4" fmla="*/ 3629 w 3704"/>
                  <a:gd name="T5" fmla="*/ 2551 h 3243"/>
                  <a:gd name="T6" fmla="*/ 3626 w 3704"/>
                  <a:gd name="T7" fmla="*/ 2635 h 3243"/>
                  <a:gd name="T8" fmla="*/ 3656 w 3704"/>
                  <a:gd name="T9" fmla="*/ 3016 h 3243"/>
                  <a:gd name="T10" fmla="*/ 3615 w 3704"/>
                  <a:gd name="T11" fmla="*/ 3009 h 3243"/>
                  <a:gd name="T12" fmla="*/ 3551 w 3704"/>
                  <a:gd name="T13" fmla="*/ 2983 h 3243"/>
                  <a:gd name="T14" fmla="*/ 3440 w 3704"/>
                  <a:gd name="T15" fmla="*/ 2989 h 3243"/>
                  <a:gd name="T16" fmla="*/ 3145 w 3704"/>
                  <a:gd name="T17" fmla="*/ 3105 h 3243"/>
                  <a:gd name="T18" fmla="*/ 3073 w 3704"/>
                  <a:gd name="T19" fmla="*/ 3085 h 3243"/>
                  <a:gd name="T20" fmla="*/ 2826 w 3704"/>
                  <a:gd name="T21" fmla="*/ 3050 h 3243"/>
                  <a:gd name="T22" fmla="*/ 2771 w 3704"/>
                  <a:gd name="T23" fmla="*/ 3072 h 3243"/>
                  <a:gd name="T24" fmla="*/ 2386 w 3704"/>
                  <a:gd name="T25" fmla="*/ 3139 h 3243"/>
                  <a:gd name="T26" fmla="*/ 2262 w 3704"/>
                  <a:gd name="T27" fmla="*/ 2952 h 3243"/>
                  <a:gd name="T28" fmla="*/ 1897 w 3704"/>
                  <a:gd name="T29" fmla="*/ 2970 h 3243"/>
                  <a:gd name="T30" fmla="*/ 1813 w 3704"/>
                  <a:gd name="T31" fmla="*/ 2969 h 3243"/>
                  <a:gd name="T32" fmla="*/ 1745 w 3704"/>
                  <a:gd name="T33" fmla="*/ 2907 h 3243"/>
                  <a:gd name="T34" fmla="*/ 2373 w 3704"/>
                  <a:gd name="T35" fmla="*/ 1861 h 3243"/>
                  <a:gd name="T36" fmla="*/ 1848 w 3704"/>
                  <a:gd name="T37" fmla="*/ 1543 h 3243"/>
                  <a:gd name="T38" fmla="*/ 1084 w 3704"/>
                  <a:gd name="T39" fmla="*/ 1487 h 3243"/>
                  <a:gd name="T40" fmla="*/ 287 w 3704"/>
                  <a:gd name="T41" fmla="*/ 1123 h 3243"/>
                  <a:gd name="T42" fmla="*/ 282 w 3704"/>
                  <a:gd name="T43" fmla="*/ 992 h 3243"/>
                  <a:gd name="T44" fmla="*/ 734 w 3704"/>
                  <a:gd name="T45" fmla="*/ 632 h 3243"/>
                  <a:gd name="T46" fmla="*/ 1252 w 3704"/>
                  <a:gd name="T47" fmla="*/ 396 h 3243"/>
                  <a:gd name="T48" fmla="*/ 851 w 3704"/>
                  <a:gd name="T49" fmla="*/ 253 h 3243"/>
                  <a:gd name="T50" fmla="*/ 173 w 3704"/>
                  <a:gd name="T51" fmla="*/ 204 h 3243"/>
                  <a:gd name="T52" fmla="*/ 94 w 3704"/>
                  <a:gd name="T53" fmla="*/ 202 h 3243"/>
                  <a:gd name="T54" fmla="*/ 49 w 3704"/>
                  <a:gd name="T55" fmla="*/ 93 h 3243"/>
                  <a:gd name="T56" fmla="*/ 0 w 3704"/>
                  <a:gd name="T57" fmla="*/ 4 h 3243"/>
                  <a:gd name="T58" fmla="*/ 216 w 3704"/>
                  <a:gd name="T59" fmla="*/ 2 h 3243"/>
                  <a:gd name="T60" fmla="*/ 832 w 3704"/>
                  <a:gd name="T61" fmla="*/ 45 h 3243"/>
                  <a:gd name="T62" fmla="*/ 1346 w 3704"/>
                  <a:gd name="T63" fmla="*/ 131 h 3243"/>
                  <a:gd name="T64" fmla="*/ 1729 w 3704"/>
                  <a:gd name="T65" fmla="*/ 322 h 3243"/>
                  <a:gd name="T66" fmla="*/ 1756 w 3704"/>
                  <a:gd name="T67" fmla="*/ 519 h 3243"/>
                  <a:gd name="T68" fmla="*/ 1386 w 3704"/>
                  <a:gd name="T69" fmla="*/ 747 h 3243"/>
                  <a:gd name="T70" fmla="*/ 957 w 3704"/>
                  <a:gd name="T71" fmla="*/ 916 h 3243"/>
                  <a:gd name="T72" fmla="*/ 982 w 3704"/>
                  <a:gd name="T73" fmla="*/ 1047 h 3243"/>
                  <a:gd name="T74" fmla="*/ 1575 w 3704"/>
                  <a:gd name="T75" fmla="*/ 1127 h 3243"/>
                  <a:gd name="T76" fmla="*/ 2067 w 3704"/>
                  <a:gd name="T77" fmla="*/ 1124 h 3243"/>
                  <a:gd name="T78" fmla="*/ 3648 w 3704"/>
                  <a:gd name="T79" fmla="*/ 2173 h 3243"/>
                  <a:gd name="T80" fmla="*/ 3666 w 3704"/>
                  <a:gd name="T81"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04" h="3243">
                    <a:moveTo>
                      <a:pt x="3666" y="2260"/>
                    </a:moveTo>
                    <a:cubicBezTo>
                      <a:pt x="3666" y="2260"/>
                      <a:pt x="3652" y="2367"/>
                      <a:pt x="3636" y="2488"/>
                    </a:cubicBezTo>
                    <a:cubicBezTo>
                      <a:pt x="3633" y="2511"/>
                      <a:pt x="3631" y="2530"/>
                      <a:pt x="3629" y="2551"/>
                    </a:cubicBezTo>
                    <a:cubicBezTo>
                      <a:pt x="3622" y="2578"/>
                      <a:pt x="3628" y="2609"/>
                      <a:pt x="3626" y="2635"/>
                    </a:cubicBezTo>
                    <a:cubicBezTo>
                      <a:pt x="3635" y="2765"/>
                      <a:pt x="3704" y="2898"/>
                      <a:pt x="3656" y="3016"/>
                    </a:cubicBezTo>
                    <a:cubicBezTo>
                      <a:pt x="3654" y="3022"/>
                      <a:pt x="3636" y="3017"/>
                      <a:pt x="3615" y="3009"/>
                    </a:cubicBezTo>
                    <a:cubicBezTo>
                      <a:pt x="3594" y="3001"/>
                      <a:pt x="3569" y="2990"/>
                      <a:pt x="3551" y="2983"/>
                    </a:cubicBezTo>
                    <a:cubicBezTo>
                      <a:pt x="3515" y="2970"/>
                      <a:pt x="3474" y="2977"/>
                      <a:pt x="3440" y="2989"/>
                    </a:cubicBezTo>
                    <a:cubicBezTo>
                      <a:pt x="3351" y="3022"/>
                      <a:pt x="3242" y="3109"/>
                      <a:pt x="3145" y="3105"/>
                    </a:cubicBezTo>
                    <a:cubicBezTo>
                      <a:pt x="3121" y="3105"/>
                      <a:pt x="3097" y="3098"/>
                      <a:pt x="3073" y="3085"/>
                    </a:cubicBezTo>
                    <a:cubicBezTo>
                      <a:pt x="2999" y="3033"/>
                      <a:pt x="2910" y="3021"/>
                      <a:pt x="2826" y="3050"/>
                    </a:cubicBezTo>
                    <a:cubicBezTo>
                      <a:pt x="2808" y="3056"/>
                      <a:pt x="2790" y="3063"/>
                      <a:pt x="2771" y="3072"/>
                    </a:cubicBezTo>
                    <a:cubicBezTo>
                      <a:pt x="2661" y="3127"/>
                      <a:pt x="2507" y="3243"/>
                      <a:pt x="2386" y="3139"/>
                    </a:cubicBezTo>
                    <a:cubicBezTo>
                      <a:pt x="2324" y="3088"/>
                      <a:pt x="2321" y="3002"/>
                      <a:pt x="2262" y="2952"/>
                    </a:cubicBezTo>
                    <a:cubicBezTo>
                      <a:pt x="2153" y="2864"/>
                      <a:pt x="2013" y="2936"/>
                      <a:pt x="1897" y="2970"/>
                    </a:cubicBezTo>
                    <a:cubicBezTo>
                      <a:pt x="1868" y="2973"/>
                      <a:pt x="1839" y="2973"/>
                      <a:pt x="1813" y="2969"/>
                    </a:cubicBezTo>
                    <a:cubicBezTo>
                      <a:pt x="1762" y="2961"/>
                      <a:pt x="1726" y="2939"/>
                      <a:pt x="1745" y="2907"/>
                    </a:cubicBezTo>
                    <a:cubicBezTo>
                      <a:pt x="1825" y="2769"/>
                      <a:pt x="2556" y="2259"/>
                      <a:pt x="2373" y="1861"/>
                    </a:cubicBezTo>
                    <a:cubicBezTo>
                      <a:pt x="2279" y="1657"/>
                      <a:pt x="2119" y="1574"/>
                      <a:pt x="1848" y="1543"/>
                    </a:cubicBezTo>
                    <a:cubicBezTo>
                      <a:pt x="1596" y="1514"/>
                      <a:pt x="1336" y="1518"/>
                      <a:pt x="1084" y="1487"/>
                    </a:cubicBezTo>
                    <a:cubicBezTo>
                      <a:pt x="795" y="1451"/>
                      <a:pt x="366" y="1377"/>
                      <a:pt x="287" y="1123"/>
                    </a:cubicBezTo>
                    <a:cubicBezTo>
                      <a:pt x="273" y="1077"/>
                      <a:pt x="272" y="1034"/>
                      <a:pt x="282" y="992"/>
                    </a:cubicBezTo>
                    <a:cubicBezTo>
                      <a:pt x="329" y="794"/>
                      <a:pt x="555" y="678"/>
                      <a:pt x="734" y="632"/>
                    </a:cubicBezTo>
                    <a:cubicBezTo>
                      <a:pt x="825" y="608"/>
                      <a:pt x="1300" y="526"/>
                      <a:pt x="1252" y="396"/>
                    </a:cubicBezTo>
                    <a:cubicBezTo>
                      <a:pt x="1205" y="269"/>
                      <a:pt x="959" y="263"/>
                      <a:pt x="851" y="253"/>
                    </a:cubicBezTo>
                    <a:cubicBezTo>
                      <a:pt x="624" y="234"/>
                      <a:pt x="398" y="230"/>
                      <a:pt x="173" y="204"/>
                    </a:cubicBezTo>
                    <a:cubicBezTo>
                      <a:pt x="148" y="202"/>
                      <a:pt x="118" y="193"/>
                      <a:pt x="94" y="202"/>
                    </a:cubicBezTo>
                    <a:cubicBezTo>
                      <a:pt x="86" y="166"/>
                      <a:pt x="73" y="122"/>
                      <a:pt x="49" y="93"/>
                    </a:cubicBezTo>
                    <a:cubicBezTo>
                      <a:pt x="26" y="65"/>
                      <a:pt x="9" y="41"/>
                      <a:pt x="0" y="4"/>
                    </a:cubicBezTo>
                    <a:cubicBezTo>
                      <a:pt x="71" y="0"/>
                      <a:pt x="144" y="0"/>
                      <a:pt x="216" y="2"/>
                    </a:cubicBezTo>
                    <a:cubicBezTo>
                      <a:pt x="422" y="7"/>
                      <a:pt x="627" y="23"/>
                      <a:pt x="832" y="45"/>
                    </a:cubicBezTo>
                    <a:cubicBezTo>
                      <a:pt x="1004" y="64"/>
                      <a:pt x="1177" y="88"/>
                      <a:pt x="1346" y="131"/>
                    </a:cubicBezTo>
                    <a:cubicBezTo>
                      <a:pt x="1477" y="165"/>
                      <a:pt x="1640" y="211"/>
                      <a:pt x="1729" y="322"/>
                    </a:cubicBezTo>
                    <a:cubicBezTo>
                      <a:pt x="1775" y="380"/>
                      <a:pt x="1783" y="451"/>
                      <a:pt x="1756" y="519"/>
                    </a:cubicBezTo>
                    <a:cubicBezTo>
                      <a:pt x="1706" y="648"/>
                      <a:pt x="1543" y="708"/>
                      <a:pt x="1386" y="747"/>
                    </a:cubicBezTo>
                    <a:cubicBezTo>
                      <a:pt x="1272" y="776"/>
                      <a:pt x="1013" y="828"/>
                      <a:pt x="957" y="916"/>
                    </a:cubicBezTo>
                    <a:cubicBezTo>
                      <a:pt x="929" y="959"/>
                      <a:pt x="941" y="1013"/>
                      <a:pt x="982" y="1047"/>
                    </a:cubicBezTo>
                    <a:cubicBezTo>
                      <a:pt x="1094" y="1141"/>
                      <a:pt x="1417" y="1125"/>
                      <a:pt x="1575" y="1127"/>
                    </a:cubicBezTo>
                    <a:cubicBezTo>
                      <a:pt x="1738" y="1128"/>
                      <a:pt x="1905" y="1115"/>
                      <a:pt x="2067" y="1124"/>
                    </a:cubicBezTo>
                    <a:cubicBezTo>
                      <a:pt x="2859" y="1166"/>
                      <a:pt x="3504" y="1593"/>
                      <a:pt x="3648" y="2173"/>
                    </a:cubicBezTo>
                    <a:cubicBezTo>
                      <a:pt x="3654" y="2198"/>
                      <a:pt x="3660" y="2228"/>
                      <a:pt x="3666" y="2260"/>
                    </a:cubicBezTo>
                    <a:close/>
                  </a:path>
                </a:pathLst>
              </a:custGeom>
              <a:solidFill>
                <a:schemeClr val="tx2">
                  <a:lumMod val="60000"/>
                  <a:lumOff val="40000"/>
                </a:schemeClr>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74"/>
              <p:cNvSpPr>
                <a:spLocks/>
              </p:cNvSpPr>
              <p:nvPr/>
            </p:nvSpPr>
            <p:spPr bwMode="auto">
              <a:xfrm>
                <a:off x="-322072" y="1008495"/>
                <a:ext cx="7496581" cy="6566588"/>
              </a:xfrm>
              <a:custGeom>
                <a:avLst/>
                <a:gdLst>
                  <a:gd name="T0" fmla="*/ 3666 w 3704"/>
                  <a:gd name="T1" fmla="*/ 2260 h 3243"/>
                  <a:gd name="T2" fmla="*/ 3636 w 3704"/>
                  <a:gd name="T3" fmla="*/ 2489 h 3243"/>
                  <a:gd name="T4" fmla="*/ 3629 w 3704"/>
                  <a:gd name="T5" fmla="*/ 2552 h 3243"/>
                  <a:gd name="T6" fmla="*/ 3626 w 3704"/>
                  <a:gd name="T7" fmla="*/ 2635 h 3243"/>
                  <a:gd name="T8" fmla="*/ 3656 w 3704"/>
                  <a:gd name="T9" fmla="*/ 3017 h 3243"/>
                  <a:gd name="T10" fmla="*/ 3615 w 3704"/>
                  <a:gd name="T11" fmla="*/ 3010 h 3243"/>
                  <a:gd name="T12" fmla="*/ 3551 w 3704"/>
                  <a:gd name="T13" fmla="*/ 2984 h 3243"/>
                  <a:gd name="T14" fmla="*/ 3440 w 3704"/>
                  <a:gd name="T15" fmla="*/ 2989 h 3243"/>
                  <a:gd name="T16" fmla="*/ 3145 w 3704"/>
                  <a:gd name="T17" fmla="*/ 3106 h 3243"/>
                  <a:gd name="T18" fmla="*/ 3073 w 3704"/>
                  <a:gd name="T19" fmla="*/ 3085 h 3243"/>
                  <a:gd name="T20" fmla="*/ 2826 w 3704"/>
                  <a:gd name="T21" fmla="*/ 3050 h 3243"/>
                  <a:gd name="T22" fmla="*/ 2771 w 3704"/>
                  <a:gd name="T23" fmla="*/ 3073 h 3243"/>
                  <a:gd name="T24" fmla="*/ 2386 w 3704"/>
                  <a:gd name="T25" fmla="*/ 3139 h 3243"/>
                  <a:gd name="T26" fmla="*/ 2262 w 3704"/>
                  <a:gd name="T27" fmla="*/ 2953 h 3243"/>
                  <a:gd name="T28" fmla="*/ 1897 w 3704"/>
                  <a:gd name="T29" fmla="*/ 2971 h 3243"/>
                  <a:gd name="T30" fmla="*/ 1813 w 3704"/>
                  <a:gd name="T31" fmla="*/ 2969 h 3243"/>
                  <a:gd name="T32" fmla="*/ 1745 w 3704"/>
                  <a:gd name="T33" fmla="*/ 2908 h 3243"/>
                  <a:gd name="T34" fmla="*/ 2373 w 3704"/>
                  <a:gd name="T35" fmla="*/ 1862 h 3243"/>
                  <a:gd name="T36" fmla="*/ 1848 w 3704"/>
                  <a:gd name="T37" fmla="*/ 1544 h 3243"/>
                  <a:gd name="T38" fmla="*/ 1084 w 3704"/>
                  <a:gd name="T39" fmla="*/ 1488 h 3243"/>
                  <a:gd name="T40" fmla="*/ 287 w 3704"/>
                  <a:gd name="T41" fmla="*/ 1124 h 3243"/>
                  <a:gd name="T42" fmla="*/ 282 w 3704"/>
                  <a:gd name="T43" fmla="*/ 993 h 3243"/>
                  <a:gd name="T44" fmla="*/ 307 w 3704"/>
                  <a:gd name="T45" fmla="*/ 922 h 3243"/>
                  <a:gd name="T46" fmla="*/ 352 w 3704"/>
                  <a:gd name="T47" fmla="*/ 861 h 3243"/>
                  <a:gd name="T48" fmla="*/ 1045 w 3704"/>
                  <a:gd name="T49" fmla="*/ 554 h 3243"/>
                  <a:gd name="T50" fmla="*/ 1133 w 3704"/>
                  <a:gd name="T51" fmla="*/ 522 h 3243"/>
                  <a:gd name="T52" fmla="*/ 1252 w 3704"/>
                  <a:gd name="T53" fmla="*/ 397 h 3243"/>
                  <a:gd name="T54" fmla="*/ 915 w 3704"/>
                  <a:gd name="T55" fmla="*/ 259 h 3243"/>
                  <a:gd name="T56" fmla="*/ 851 w 3704"/>
                  <a:gd name="T57" fmla="*/ 254 h 3243"/>
                  <a:gd name="T58" fmla="*/ 525 w 3704"/>
                  <a:gd name="T59" fmla="*/ 232 h 3243"/>
                  <a:gd name="T60" fmla="*/ 455 w 3704"/>
                  <a:gd name="T61" fmla="*/ 228 h 3243"/>
                  <a:gd name="T62" fmla="*/ 173 w 3704"/>
                  <a:gd name="T63" fmla="*/ 205 h 3243"/>
                  <a:gd name="T64" fmla="*/ 94 w 3704"/>
                  <a:gd name="T65" fmla="*/ 203 h 3243"/>
                  <a:gd name="T66" fmla="*/ 49 w 3704"/>
                  <a:gd name="T67" fmla="*/ 93 h 3243"/>
                  <a:gd name="T68" fmla="*/ 0 w 3704"/>
                  <a:gd name="T69" fmla="*/ 5 h 3243"/>
                  <a:gd name="T70" fmla="*/ 216 w 3704"/>
                  <a:gd name="T71" fmla="*/ 2 h 3243"/>
                  <a:gd name="T72" fmla="*/ 832 w 3704"/>
                  <a:gd name="T73" fmla="*/ 46 h 3243"/>
                  <a:gd name="T74" fmla="*/ 1346 w 3704"/>
                  <a:gd name="T75" fmla="*/ 132 h 3243"/>
                  <a:gd name="T76" fmla="*/ 1729 w 3704"/>
                  <a:gd name="T77" fmla="*/ 323 h 3243"/>
                  <a:gd name="T78" fmla="*/ 1756 w 3704"/>
                  <a:gd name="T79" fmla="*/ 519 h 3243"/>
                  <a:gd name="T80" fmla="*/ 1386 w 3704"/>
                  <a:gd name="T81" fmla="*/ 748 h 3243"/>
                  <a:gd name="T82" fmla="*/ 1068 w 3704"/>
                  <a:gd name="T83" fmla="*/ 840 h 3243"/>
                  <a:gd name="T84" fmla="*/ 1000 w 3704"/>
                  <a:gd name="T85" fmla="*/ 875 h 3243"/>
                  <a:gd name="T86" fmla="*/ 957 w 3704"/>
                  <a:gd name="T87" fmla="*/ 916 h 3243"/>
                  <a:gd name="T88" fmla="*/ 944 w 3704"/>
                  <a:gd name="T89" fmla="*/ 986 h 3243"/>
                  <a:gd name="T90" fmla="*/ 982 w 3704"/>
                  <a:gd name="T91" fmla="*/ 1048 h 3243"/>
                  <a:gd name="T92" fmla="*/ 1575 w 3704"/>
                  <a:gd name="T93" fmla="*/ 1127 h 3243"/>
                  <a:gd name="T94" fmla="*/ 2067 w 3704"/>
                  <a:gd name="T95" fmla="*/ 1124 h 3243"/>
                  <a:gd name="T96" fmla="*/ 3648 w 3704"/>
                  <a:gd name="T97" fmla="*/ 2173 h 3243"/>
                  <a:gd name="T98" fmla="*/ 3666 w 3704"/>
                  <a:gd name="T99"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04" h="3243">
                    <a:moveTo>
                      <a:pt x="3666" y="2260"/>
                    </a:moveTo>
                    <a:cubicBezTo>
                      <a:pt x="3666" y="2260"/>
                      <a:pt x="3652" y="2368"/>
                      <a:pt x="3636" y="2489"/>
                    </a:cubicBezTo>
                    <a:cubicBezTo>
                      <a:pt x="3633" y="2511"/>
                      <a:pt x="3631" y="2531"/>
                      <a:pt x="3629" y="2552"/>
                    </a:cubicBezTo>
                    <a:cubicBezTo>
                      <a:pt x="3622" y="2579"/>
                      <a:pt x="3628" y="2609"/>
                      <a:pt x="3626" y="2635"/>
                    </a:cubicBezTo>
                    <a:cubicBezTo>
                      <a:pt x="3635" y="2766"/>
                      <a:pt x="3704" y="2899"/>
                      <a:pt x="3656" y="3017"/>
                    </a:cubicBezTo>
                    <a:cubicBezTo>
                      <a:pt x="3654" y="3022"/>
                      <a:pt x="3636" y="3018"/>
                      <a:pt x="3615" y="3010"/>
                    </a:cubicBezTo>
                    <a:cubicBezTo>
                      <a:pt x="3594" y="3002"/>
                      <a:pt x="3569" y="2991"/>
                      <a:pt x="3551" y="2984"/>
                    </a:cubicBezTo>
                    <a:cubicBezTo>
                      <a:pt x="3515" y="2970"/>
                      <a:pt x="3474" y="2977"/>
                      <a:pt x="3440" y="2989"/>
                    </a:cubicBezTo>
                    <a:cubicBezTo>
                      <a:pt x="3351" y="3023"/>
                      <a:pt x="3242" y="3109"/>
                      <a:pt x="3145" y="3106"/>
                    </a:cubicBezTo>
                    <a:cubicBezTo>
                      <a:pt x="3121" y="3105"/>
                      <a:pt x="3097" y="3099"/>
                      <a:pt x="3073" y="3085"/>
                    </a:cubicBezTo>
                    <a:cubicBezTo>
                      <a:pt x="2999" y="3033"/>
                      <a:pt x="2910" y="3021"/>
                      <a:pt x="2826" y="3050"/>
                    </a:cubicBezTo>
                    <a:cubicBezTo>
                      <a:pt x="2808" y="3056"/>
                      <a:pt x="2790" y="3064"/>
                      <a:pt x="2771" y="3073"/>
                    </a:cubicBezTo>
                    <a:cubicBezTo>
                      <a:pt x="2661" y="3128"/>
                      <a:pt x="2507" y="3243"/>
                      <a:pt x="2386" y="3139"/>
                    </a:cubicBezTo>
                    <a:cubicBezTo>
                      <a:pt x="2324" y="3089"/>
                      <a:pt x="2321" y="3003"/>
                      <a:pt x="2262" y="2953"/>
                    </a:cubicBezTo>
                    <a:cubicBezTo>
                      <a:pt x="2153" y="2864"/>
                      <a:pt x="2013" y="2937"/>
                      <a:pt x="1897" y="2971"/>
                    </a:cubicBezTo>
                    <a:cubicBezTo>
                      <a:pt x="1868" y="2974"/>
                      <a:pt x="1839" y="2973"/>
                      <a:pt x="1813" y="2969"/>
                    </a:cubicBezTo>
                    <a:cubicBezTo>
                      <a:pt x="1762" y="2961"/>
                      <a:pt x="1726" y="2939"/>
                      <a:pt x="1745" y="2908"/>
                    </a:cubicBezTo>
                    <a:cubicBezTo>
                      <a:pt x="1825" y="2769"/>
                      <a:pt x="2556" y="2260"/>
                      <a:pt x="2373" y="1862"/>
                    </a:cubicBezTo>
                    <a:cubicBezTo>
                      <a:pt x="2279" y="1657"/>
                      <a:pt x="2119" y="1575"/>
                      <a:pt x="1848" y="1544"/>
                    </a:cubicBezTo>
                    <a:cubicBezTo>
                      <a:pt x="1596" y="1514"/>
                      <a:pt x="1336" y="1519"/>
                      <a:pt x="1084" y="1488"/>
                    </a:cubicBezTo>
                    <a:cubicBezTo>
                      <a:pt x="795" y="1452"/>
                      <a:pt x="366" y="1377"/>
                      <a:pt x="287" y="1124"/>
                    </a:cubicBezTo>
                    <a:cubicBezTo>
                      <a:pt x="273" y="1078"/>
                      <a:pt x="272" y="1034"/>
                      <a:pt x="282" y="993"/>
                    </a:cubicBezTo>
                    <a:cubicBezTo>
                      <a:pt x="288" y="968"/>
                      <a:pt x="296" y="945"/>
                      <a:pt x="307" y="922"/>
                    </a:cubicBezTo>
                    <a:cubicBezTo>
                      <a:pt x="321" y="900"/>
                      <a:pt x="336" y="880"/>
                      <a:pt x="352" y="861"/>
                    </a:cubicBezTo>
                    <a:cubicBezTo>
                      <a:pt x="528" y="657"/>
                      <a:pt x="804" y="629"/>
                      <a:pt x="1045" y="554"/>
                    </a:cubicBezTo>
                    <a:cubicBezTo>
                      <a:pt x="1076" y="544"/>
                      <a:pt x="1106" y="534"/>
                      <a:pt x="1133" y="522"/>
                    </a:cubicBezTo>
                    <a:cubicBezTo>
                      <a:pt x="1215" y="487"/>
                      <a:pt x="1270" y="445"/>
                      <a:pt x="1252" y="397"/>
                    </a:cubicBezTo>
                    <a:cubicBezTo>
                      <a:pt x="1213" y="291"/>
                      <a:pt x="1035" y="269"/>
                      <a:pt x="915" y="259"/>
                    </a:cubicBezTo>
                    <a:cubicBezTo>
                      <a:pt x="891" y="257"/>
                      <a:pt x="869" y="255"/>
                      <a:pt x="851" y="254"/>
                    </a:cubicBezTo>
                    <a:cubicBezTo>
                      <a:pt x="744" y="249"/>
                      <a:pt x="632" y="237"/>
                      <a:pt x="525" y="232"/>
                    </a:cubicBezTo>
                    <a:cubicBezTo>
                      <a:pt x="502" y="231"/>
                      <a:pt x="478" y="230"/>
                      <a:pt x="455" y="228"/>
                    </a:cubicBezTo>
                    <a:cubicBezTo>
                      <a:pt x="360" y="222"/>
                      <a:pt x="266" y="215"/>
                      <a:pt x="173" y="205"/>
                    </a:cubicBezTo>
                    <a:cubicBezTo>
                      <a:pt x="148" y="202"/>
                      <a:pt x="118" y="193"/>
                      <a:pt x="94" y="203"/>
                    </a:cubicBezTo>
                    <a:cubicBezTo>
                      <a:pt x="86" y="167"/>
                      <a:pt x="73" y="122"/>
                      <a:pt x="49" y="93"/>
                    </a:cubicBezTo>
                    <a:cubicBezTo>
                      <a:pt x="26" y="65"/>
                      <a:pt x="9" y="42"/>
                      <a:pt x="0" y="5"/>
                    </a:cubicBezTo>
                    <a:cubicBezTo>
                      <a:pt x="71" y="0"/>
                      <a:pt x="144" y="0"/>
                      <a:pt x="216" y="2"/>
                    </a:cubicBezTo>
                    <a:cubicBezTo>
                      <a:pt x="422" y="7"/>
                      <a:pt x="627" y="24"/>
                      <a:pt x="832" y="46"/>
                    </a:cubicBezTo>
                    <a:cubicBezTo>
                      <a:pt x="1004" y="64"/>
                      <a:pt x="1177" y="88"/>
                      <a:pt x="1346" y="132"/>
                    </a:cubicBezTo>
                    <a:cubicBezTo>
                      <a:pt x="1477" y="166"/>
                      <a:pt x="1640" y="212"/>
                      <a:pt x="1729" y="323"/>
                    </a:cubicBezTo>
                    <a:cubicBezTo>
                      <a:pt x="1775" y="380"/>
                      <a:pt x="1783" y="451"/>
                      <a:pt x="1756" y="519"/>
                    </a:cubicBezTo>
                    <a:cubicBezTo>
                      <a:pt x="1706" y="648"/>
                      <a:pt x="1543" y="708"/>
                      <a:pt x="1386" y="748"/>
                    </a:cubicBezTo>
                    <a:cubicBezTo>
                      <a:pt x="1310" y="767"/>
                      <a:pt x="1170" y="796"/>
                      <a:pt x="1068" y="840"/>
                    </a:cubicBezTo>
                    <a:cubicBezTo>
                      <a:pt x="1042" y="851"/>
                      <a:pt x="1019" y="863"/>
                      <a:pt x="1000" y="875"/>
                    </a:cubicBezTo>
                    <a:cubicBezTo>
                      <a:pt x="981" y="888"/>
                      <a:pt x="966" y="902"/>
                      <a:pt x="957" y="916"/>
                    </a:cubicBezTo>
                    <a:cubicBezTo>
                      <a:pt x="943" y="938"/>
                      <a:pt x="939" y="962"/>
                      <a:pt x="944" y="986"/>
                    </a:cubicBezTo>
                    <a:cubicBezTo>
                      <a:pt x="948" y="1009"/>
                      <a:pt x="961" y="1031"/>
                      <a:pt x="982" y="1048"/>
                    </a:cubicBezTo>
                    <a:cubicBezTo>
                      <a:pt x="1094" y="1142"/>
                      <a:pt x="1417" y="1125"/>
                      <a:pt x="1575" y="1127"/>
                    </a:cubicBezTo>
                    <a:cubicBezTo>
                      <a:pt x="1738" y="1129"/>
                      <a:pt x="1905" y="1115"/>
                      <a:pt x="2067" y="1124"/>
                    </a:cubicBezTo>
                    <a:cubicBezTo>
                      <a:pt x="2859" y="1167"/>
                      <a:pt x="3504" y="1594"/>
                      <a:pt x="3648" y="2173"/>
                    </a:cubicBezTo>
                    <a:cubicBezTo>
                      <a:pt x="3654" y="2199"/>
                      <a:pt x="3660" y="2228"/>
                      <a:pt x="3666" y="2260"/>
                    </a:cubicBezTo>
                    <a:close/>
                  </a:path>
                </a:pathLst>
              </a:custGeom>
              <a:solidFill>
                <a:schemeClr val="tx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179"/>
            <p:cNvSpPr>
              <a:spLocks noEditPoints="1"/>
            </p:cNvSpPr>
            <p:nvPr/>
          </p:nvSpPr>
          <p:spPr bwMode="auto">
            <a:xfrm>
              <a:off x="-1511557" y="1210597"/>
              <a:ext cx="7453763" cy="6009952"/>
            </a:xfrm>
            <a:custGeom>
              <a:avLst/>
              <a:gdLst>
                <a:gd name="T0" fmla="*/ 1157 w 3683"/>
                <a:gd name="T1" fmla="*/ 18 h 2968"/>
                <a:gd name="T2" fmla="*/ 963 w 3683"/>
                <a:gd name="T3" fmla="*/ 19 h 2968"/>
                <a:gd name="T4" fmla="*/ 1009 w 3683"/>
                <a:gd name="T5" fmla="*/ 26 h 2968"/>
                <a:gd name="T6" fmla="*/ 1011 w 3683"/>
                <a:gd name="T7" fmla="*/ 13 h 2968"/>
                <a:gd name="T8" fmla="*/ 1250 w 3683"/>
                <a:gd name="T9" fmla="*/ 836 h 2968"/>
                <a:gd name="T10" fmla="*/ 1228 w 3683"/>
                <a:gd name="T11" fmla="*/ 966 h 2968"/>
                <a:gd name="T12" fmla="*/ 1244 w 3683"/>
                <a:gd name="T13" fmla="*/ 960 h 2968"/>
                <a:gd name="T14" fmla="*/ 1401 w 3683"/>
                <a:gd name="T15" fmla="*/ 1119 h 2968"/>
                <a:gd name="T16" fmla="*/ 1528 w 3683"/>
                <a:gd name="T17" fmla="*/ 1150 h 2968"/>
                <a:gd name="T18" fmla="*/ 1519 w 3683"/>
                <a:gd name="T19" fmla="*/ 55 h 2968"/>
                <a:gd name="T20" fmla="*/ 1449 w 3683"/>
                <a:gd name="T21" fmla="*/ 669 h 2968"/>
                <a:gd name="T22" fmla="*/ 1285 w 3683"/>
                <a:gd name="T23" fmla="*/ 770 h 2968"/>
                <a:gd name="T24" fmla="*/ 1455 w 3683"/>
                <a:gd name="T25" fmla="*/ 674 h 2968"/>
                <a:gd name="T26" fmla="*/ 1709 w 3683"/>
                <a:gd name="T27" fmla="*/ 80 h 2968"/>
                <a:gd name="T28" fmla="*/ 3599 w 3683"/>
                <a:gd name="T29" fmla="*/ 1859 h 2968"/>
                <a:gd name="T30" fmla="*/ 3647 w 3683"/>
                <a:gd name="T31" fmla="*/ 1912 h 2968"/>
                <a:gd name="T32" fmla="*/ 3615 w 3683"/>
                <a:gd name="T33" fmla="*/ 1813 h 2968"/>
                <a:gd name="T34" fmla="*/ 3548 w 3683"/>
                <a:gd name="T35" fmla="*/ 1742 h 2968"/>
                <a:gd name="T36" fmla="*/ 48 w 3683"/>
                <a:gd name="T37" fmla="*/ 73 h 2968"/>
                <a:gd name="T38" fmla="*/ 1311 w 3683"/>
                <a:gd name="T39" fmla="*/ 27 h 2968"/>
                <a:gd name="T40" fmla="*/ 673 w 3683"/>
                <a:gd name="T41" fmla="*/ 6 h 2968"/>
                <a:gd name="T42" fmla="*/ 537 w 3683"/>
                <a:gd name="T43" fmla="*/ 1 h 2968"/>
                <a:gd name="T44" fmla="*/ 798 w 3683"/>
                <a:gd name="T45" fmla="*/ 20 h 2968"/>
                <a:gd name="T46" fmla="*/ 298 w 3683"/>
                <a:gd name="T47" fmla="*/ 27 h 2968"/>
                <a:gd name="T48" fmla="*/ 502 w 3683"/>
                <a:gd name="T49" fmla="*/ 17 h 2968"/>
                <a:gd name="T50" fmla="*/ 3272 w 3683"/>
                <a:gd name="T51" fmla="*/ 1450 h 2968"/>
                <a:gd name="T52" fmla="*/ 3338 w 3683"/>
                <a:gd name="T53" fmla="*/ 1521 h 2968"/>
                <a:gd name="T54" fmla="*/ 3430 w 3683"/>
                <a:gd name="T55" fmla="*/ 1554 h 2968"/>
                <a:gd name="T56" fmla="*/ 3374 w 3683"/>
                <a:gd name="T57" fmla="*/ 2968 h 2968"/>
                <a:gd name="T58" fmla="*/ 3397 w 3683"/>
                <a:gd name="T59" fmla="*/ 2879 h 2968"/>
                <a:gd name="T60" fmla="*/ 2880 w 3683"/>
                <a:gd name="T61" fmla="*/ 1304 h 2968"/>
                <a:gd name="T62" fmla="*/ 2970 w 3683"/>
                <a:gd name="T63" fmla="*/ 1358 h 2968"/>
                <a:gd name="T64" fmla="*/ 2978 w 3683"/>
                <a:gd name="T65" fmla="*/ 1333 h 2968"/>
                <a:gd name="T66" fmla="*/ 2506 w 3683"/>
                <a:gd name="T67" fmla="*/ 1258 h 2968"/>
                <a:gd name="T68" fmla="*/ 2648 w 3683"/>
                <a:gd name="T69" fmla="*/ 1254 h 2968"/>
                <a:gd name="T70" fmla="*/ 3528 w 3683"/>
                <a:gd name="T71" fmla="*/ 2668 h 2968"/>
                <a:gd name="T72" fmla="*/ 3615 w 3683"/>
                <a:gd name="T73" fmla="*/ 2554 h 2968"/>
                <a:gd name="T74" fmla="*/ 3682 w 3683"/>
                <a:gd name="T75" fmla="*/ 2148 h 2968"/>
                <a:gd name="T76" fmla="*/ 3650 w 3683"/>
                <a:gd name="T77" fmla="*/ 2149 h 2968"/>
                <a:gd name="T78" fmla="*/ 3674 w 3683"/>
                <a:gd name="T79" fmla="*/ 2322 h 2968"/>
                <a:gd name="T80" fmla="*/ 2076 w 3683"/>
                <a:gd name="T81" fmla="*/ 230 h 2968"/>
                <a:gd name="T82" fmla="*/ 1946 w 3683"/>
                <a:gd name="T83" fmla="*/ 144 h 2968"/>
                <a:gd name="T84" fmla="*/ 1816 w 3683"/>
                <a:gd name="T85" fmla="*/ 532 h 2968"/>
                <a:gd name="T86" fmla="*/ 1969 w 3683"/>
                <a:gd name="T87" fmla="*/ 480 h 2968"/>
                <a:gd name="T88" fmla="*/ 1695 w 3683"/>
                <a:gd name="T89" fmla="*/ 1175 h 2968"/>
                <a:gd name="T90" fmla="*/ 1834 w 3683"/>
                <a:gd name="T91" fmla="*/ 1203 h 2968"/>
                <a:gd name="T92" fmla="*/ 1835 w 3683"/>
                <a:gd name="T93" fmla="*/ 1182 h 2968"/>
                <a:gd name="T94" fmla="*/ 2069 w 3683"/>
                <a:gd name="T95" fmla="*/ 1220 h 2968"/>
                <a:gd name="T96" fmla="*/ 2098 w 3683"/>
                <a:gd name="T97" fmla="*/ 316 h 2968"/>
                <a:gd name="T98" fmla="*/ 2030 w 3683"/>
                <a:gd name="T99" fmla="*/ 439 h 2968"/>
                <a:gd name="T100" fmla="*/ 1725 w 3683"/>
                <a:gd name="T101" fmla="*/ 564 h 2968"/>
                <a:gd name="T102" fmla="*/ 1733 w 3683"/>
                <a:gd name="T103" fmla="*/ 579 h 2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83" h="2968">
                  <a:moveTo>
                    <a:pt x="1265" y="38"/>
                  </a:moveTo>
                  <a:cubicBezTo>
                    <a:pt x="1228" y="36"/>
                    <a:pt x="1192" y="33"/>
                    <a:pt x="1157" y="30"/>
                  </a:cubicBezTo>
                  <a:cubicBezTo>
                    <a:pt x="1156" y="30"/>
                    <a:pt x="1155" y="30"/>
                    <a:pt x="1154" y="30"/>
                  </a:cubicBezTo>
                  <a:cubicBezTo>
                    <a:pt x="1154" y="26"/>
                    <a:pt x="1155" y="22"/>
                    <a:pt x="1155" y="18"/>
                  </a:cubicBezTo>
                  <a:cubicBezTo>
                    <a:pt x="1156" y="18"/>
                    <a:pt x="1157" y="18"/>
                    <a:pt x="1157" y="18"/>
                  </a:cubicBezTo>
                  <a:cubicBezTo>
                    <a:pt x="1192" y="20"/>
                    <a:pt x="1228" y="23"/>
                    <a:pt x="1265" y="25"/>
                  </a:cubicBezTo>
                  <a:cubicBezTo>
                    <a:pt x="1265" y="29"/>
                    <a:pt x="1265" y="33"/>
                    <a:pt x="1265" y="38"/>
                  </a:cubicBezTo>
                  <a:close/>
                  <a:moveTo>
                    <a:pt x="870" y="22"/>
                  </a:moveTo>
                  <a:cubicBezTo>
                    <a:pt x="891" y="22"/>
                    <a:pt x="913" y="23"/>
                    <a:pt x="935" y="24"/>
                  </a:cubicBezTo>
                  <a:cubicBezTo>
                    <a:pt x="942" y="16"/>
                    <a:pt x="954" y="14"/>
                    <a:pt x="963" y="19"/>
                  </a:cubicBezTo>
                  <a:cubicBezTo>
                    <a:pt x="963" y="17"/>
                    <a:pt x="964" y="15"/>
                    <a:pt x="964" y="12"/>
                  </a:cubicBezTo>
                  <a:cubicBezTo>
                    <a:pt x="931" y="12"/>
                    <a:pt x="899" y="11"/>
                    <a:pt x="869" y="10"/>
                  </a:cubicBezTo>
                  <a:cubicBezTo>
                    <a:pt x="869" y="14"/>
                    <a:pt x="869" y="18"/>
                    <a:pt x="870" y="22"/>
                  </a:cubicBezTo>
                  <a:close/>
                  <a:moveTo>
                    <a:pt x="1011" y="13"/>
                  </a:moveTo>
                  <a:cubicBezTo>
                    <a:pt x="1010" y="17"/>
                    <a:pt x="1009" y="21"/>
                    <a:pt x="1009" y="26"/>
                  </a:cubicBezTo>
                  <a:cubicBezTo>
                    <a:pt x="1019" y="26"/>
                    <a:pt x="1029" y="26"/>
                    <a:pt x="1039" y="26"/>
                  </a:cubicBezTo>
                  <a:cubicBezTo>
                    <a:pt x="1061" y="27"/>
                    <a:pt x="1085" y="28"/>
                    <a:pt x="1108" y="28"/>
                  </a:cubicBezTo>
                  <a:cubicBezTo>
                    <a:pt x="1109" y="24"/>
                    <a:pt x="1109" y="20"/>
                    <a:pt x="1110" y="16"/>
                  </a:cubicBezTo>
                  <a:cubicBezTo>
                    <a:pt x="1086" y="15"/>
                    <a:pt x="1062" y="15"/>
                    <a:pt x="1039" y="14"/>
                  </a:cubicBezTo>
                  <a:cubicBezTo>
                    <a:pt x="1030" y="14"/>
                    <a:pt x="1020" y="14"/>
                    <a:pt x="1011" y="13"/>
                  </a:cubicBezTo>
                  <a:close/>
                  <a:moveTo>
                    <a:pt x="1244" y="960"/>
                  </a:moveTo>
                  <a:cubicBezTo>
                    <a:pt x="1243" y="956"/>
                    <a:pt x="1242" y="953"/>
                    <a:pt x="1241" y="949"/>
                  </a:cubicBezTo>
                  <a:cubicBezTo>
                    <a:pt x="1240" y="945"/>
                    <a:pt x="1239" y="941"/>
                    <a:pt x="1238" y="937"/>
                  </a:cubicBezTo>
                  <a:cubicBezTo>
                    <a:pt x="1235" y="920"/>
                    <a:pt x="1234" y="903"/>
                    <a:pt x="1236" y="886"/>
                  </a:cubicBezTo>
                  <a:cubicBezTo>
                    <a:pt x="1237" y="869"/>
                    <a:pt x="1242" y="852"/>
                    <a:pt x="1250" y="836"/>
                  </a:cubicBezTo>
                  <a:cubicBezTo>
                    <a:pt x="1232" y="836"/>
                    <a:pt x="1232" y="836"/>
                    <a:pt x="1232" y="836"/>
                  </a:cubicBezTo>
                  <a:cubicBezTo>
                    <a:pt x="1225" y="852"/>
                    <a:pt x="1221" y="868"/>
                    <a:pt x="1219" y="885"/>
                  </a:cubicBezTo>
                  <a:cubicBezTo>
                    <a:pt x="1217" y="904"/>
                    <a:pt x="1218" y="922"/>
                    <a:pt x="1221" y="940"/>
                  </a:cubicBezTo>
                  <a:cubicBezTo>
                    <a:pt x="1222" y="944"/>
                    <a:pt x="1223" y="949"/>
                    <a:pt x="1224" y="953"/>
                  </a:cubicBezTo>
                  <a:cubicBezTo>
                    <a:pt x="1226" y="957"/>
                    <a:pt x="1227" y="962"/>
                    <a:pt x="1228" y="966"/>
                  </a:cubicBezTo>
                  <a:cubicBezTo>
                    <a:pt x="1231" y="974"/>
                    <a:pt x="1234" y="982"/>
                    <a:pt x="1238" y="990"/>
                  </a:cubicBezTo>
                  <a:cubicBezTo>
                    <a:pt x="1244" y="1002"/>
                    <a:pt x="1251" y="1013"/>
                    <a:pt x="1259" y="1023"/>
                  </a:cubicBezTo>
                  <a:cubicBezTo>
                    <a:pt x="1264" y="1020"/>
                    <a:pt x="1269" y="1017"/>
                    <a:pt x="1274" y="1014"/>
                  </a:cubicBezTo>
                  <a:cubicBezTo>
                    <a:pt x="1266" y="1005"/>
                    <a:pt x="1259" y="994"/>
                    <a:pt x="1253" y="982"/>
                  </a:cubicBezTo>
                  <a:cubicBezTo>
                    <a:pt x="1249" y="975"/>
                    <a:pt x="1247" y="968"/>
                    <a:pt x="1244" y="960"/>
                  </a:cubicBezTo>
                  <a:close/>
                  <a:moveTo>
                    <a:pt x="1503" y="1141"/>
                  </a:moveTo>
                  <a:cubicBezTo>
                    <a:pt x="1481" y="1132"/>
                    <a:pt x="1448" y="1121"/>
                    <a:pt x="1408" y="1104"/>
                  </a:cubicBezTo>
                  <a:cubicBezTo>
                    <a:pt x="1390" y="1096"/>
                    <a:pt x="1370" y="1087"/>
                    <a:pt x="1349" y="1075"/>
                  </a:cubicBezTo>
                  <a:cubicBezTo>
                    <a:pt x="1346" y="1079"/>
                    <a:pt x="1343" y="1084"/>
                    <a:pt x="1340" y="1088"/>
                  </a:cubicBezTo>
                  <a:cubicBezTo>
                    <a:pt x="1361" y="1101"/>
                    <a:pt x="1382" y="1110"/>
                    <a:pt x="1401" y="1119"/>
                  </a:cubicBezTo>
                  <a:cubicBezTo>
                    <a:pt x="1442" y="1136"/>
                    <a:pt x="1475" y="1147"/>
                    <a:pt x="1497" y="1156"/>
                  </a:cubicBezTo>
                  <a:cubicBezTo>
                    <a:pt x="1509" y="1160"/>
                    <a:pt x="1517" y="1163"/>
                    <a:pt x="1523" y="1165"/>
                  </a:cubicBezTo>
                  <a:cubicBezTo>
                    <a:pt x="1528" y="1167"/>
                    <a:pt x="1531" y="1168"/>
                    <a:pt x="1531" y="1168"/>
                  </a:cubicBezTo>
                  <a:cubicBezTo>
                    <a:pt x="1537" y="1154"/>
                    <a:pt x="1537" y="1154"/>
                    <a:pt x="1537" y="1154"/>
                  </a:cubicBezTo>
                  <a:cubicBezTo>
                    <a:pt x="1537" y="1154"/>
                    <a:pt x="1534" y="1152"/>
                    <a:pt x="1528" y="1150"/>
                  </a:cubicBezTo>
                  <a:cubicBezTo>
                    <a:pt x="1523" y="1148"/>
                    <a:pt x="1514" y="1145"/>
                    <a:pt x="1503" y="1141"/>
                  </a:cubicBezTo>
                  <a:close/>
                  <a:moveTo>
                    <a:pt x="1666" y="58"/>
                  </a:moveTo>
                  <a:cubicBezTo>
                    <a:pt x="1629" y="53"/>
                    <a:pt x="1592" y="48"/>
                    <a:pt x="1556" y="44"/>
                  </a:cubicBezTo>
                  <a:cubicBezTo>
                    <a:pt x="1544" y="43"/>
                    <a:pt x="1531" y="42"/>
                    <a:pt x="1519" y="41"/>
                  </a:cubicBezTo>
                  <a:cubicBezTo>
                    <a:pt x="1519" y="46"/>
                    <a:pt x="1519" y="50"/>
                    <a:pt x="1519" y="55"/>
                  </a:cubicBezTo>
                  <a:cubicBezTo>
                    <a:pt x="1531" y="56"/>
                    <a:pt x="1543" y="57"/>
                    <a:pt x="1554" y="58"/>
                  </a:cubicBezTo>
                  <a:cubicBezTo>
                    <a:pt x="1591" y="62"/>
                    <a:pt x="1627" y="67"/>
                    <a:pt x="1664" y="72"/>
                  </a:cubicBezTo>
                  <a:cubicBezTo>
                    <a:pt x="1665" y="68"/>
                    <a:pt x="1666" y="63"/>
                    <a:pt x="1666" y="58"/>
                  </a:cubicBezTo>
                  <a:close/>
                  <a:moveTo>
                    <a:pt x="1455" y="674"/>
                  </a:moveTo>
                  <a:cubicBezTo>
                    <a:pt x="1452" y="671"/>
                    <a:pt x="1454" y="672"/>
                    <a:pt x="1449" y="669"/>
                  </a:cubicBezTo>
                  <a:cubicBezTo>
                    <a:pt x="1445" y="667"/>
                    <a:pt x="1441" y="665"/>
                    <a:pt x="1437" y="663"/>
                  </a:cubicBezTo>
                  <a:cubicBezTo>
                    <a:pt x="1432" y="666"/>
                    <a:pt x="1427" y="668"/>
                    <a:pt x="1422" y="670"/>
                  </a:cubicBezTo>
                  <a:cubicBezTo>
                    <a:pt x="1383" y="689"/>
                    <a:pt x="1345" y="710"/>
                    <a:pt x="1313" y="736"/>
                  </a:cubicBezTo>
                  <a:cubicBezTo>
                    <a:pt x="1300" y="747"/>
                    <a:pt x="1288" y="757"/>
                    <a:pt x="1276" y="769"/>
                  </a:cubicBezTo>
                  <a:cubicBezTo>
                    <a:pt x="1279" y="769"/>
                    <a:pt x="1282" y="770"/>
                    <a:pt x="1285" y="770"/>
                  </a:cubicBezTo>
                  <a:cubicBezTo>
                    <a:pt x="1289" y="769"/>
                    <a:pt x="1293" y="768"/>
                    <a:pt x="1298" y="767"/>
                  </a:cubicBezTo>
                  <a:cubicBezTo>
                    <a:pt x="1300" y="766"/>
                    <a:pt x="1302" y="766"/>
                    <a:pt x="1304" y="766"/>
                  </a:cubicBezTo>
                  <a:cubicBezTo>
                    <a:pt x="1310" y="760"/>
                    <a:pt x="1317" y="755"/>
                    <a:pt x="1323" y="750"/>
                  </a:cubicBezTo>
                  <a:cubicBezTo>
                    <a:pt x="1355" y="725"/>
                    <a:pt x="1391" y="704"/>
                    <a:pt x="1430" y="686"/>
                  </a:cubicBezTo>
                  <a:cubicBezTo>
                    <a:pt x="1438" y="682"/>
                    <a:pt x="1447" y="678"/>
                    <a:pt x="1455" y="674"/>
                  </a:cubicBezTo>
                  <a:close/>
                  <a:moveTo>
                    <a:pt x="1879" y="120"/>
                  </a:moveTo>
                  <a:cubicBezTo>
                    <a:pt x="1880" y="115"/>
                    <a:pt x="1881" y="110"/>
                    <a:pt x="1883" y="105"/>
                  </a:cubicBezTo>
                  <a:cubicBezTo>
                    <a:pt x="1870" y="101"/>
                    <a:pt x="1857" y="97"/>
                    <a:pt x="1844" y="94"/>
                  </a:cubicBezTo>
                  <a:cubicBezTo>
                    <a:pt x="1800" y="82"/>
                    <a:pt x="1756" y="73"/>
                    <a:pt x="1712" y="65"/>
                  </a:cubicBezTo>
                  <a:cubicBezTo>
                    <a:pt x="1711" y="70"/>
                    <a:pt x="1710" y="75"/>
                    <a:pt x="1709" y="80"/>
                  </a:cubicBezTo>
                  <a:cubicBezTo>
                    <a:pt x="1753" y="88"/>
                    <a:pt x="1797" y="97"/>
                    <a:pt x="1840" y="109"/>
                  </a:cubicBezTo>
                  <a:cubicBezTo>
                    <a:pt x="1853" y="112"/>
                    <a:pt x="1866" y="116"/>
                    <a:pt x="1879" y="120"/>
                  </a:cubicBezTo>
                  <a:close/>
                  <a:moveTo>
                    <a:pt x="3559" y="1762"/>
                  </a:moveTo>
                  <a:cubicBezTo>
                    <a:pt x="3567" y="1778"/>
                    <a:pt x="3578" y="1801"/>
                    <a:pt x="3587" y="1824"/>
                  </a:cubicBezTo>
                  <a:cubicBezTo>
                    <a:pt x="3591" y="1836"/>
                    <a:pt x="3595" y="1848"/>
                    <a:pt x="3599" y="1859"/>
                  </a:cubicBezTo>
                  <a:cubicBezTo>
                    <a:pt x="3600" y="1861"/>
                    <a:pt x="3601" y="1864"/>
                    <a:pt x="3602" y="1867"/>
                  </a:cubicBezTo>
                  <a:cubicBezTo>
                    <a:pt x="3602" y="1869"/>
                    <a:pt x="3603" y="1872"/>
                    <a:pt x="3604" y="1875"/>
                  </a:cubicBezTo>
                  <a:cubicBezTo>
                    <a:pt x="3605" y="1880"/>
                    <a:pt x="3607" y="1885"/>
                    <a:pt x="3608" y="1889"/>
                  </a:cubicBezTo>
                  <a:cubicBezTo>
                    <a:pt x="3613" y="1908"/>
                    <a:pt x="3617" y="1920"/>
                    <a:pt x="3617" y="1920"/>
                  </a:cubicBezTo>
                  <a:cubicBezTo>
                    <a:pt x="3647" y="1912"/>
                    <a:pt x="3647" y="1912"/>
                    <a:pt x="3647" y="1912"/>
                  </a:cubicBezTo>
                  <a:cubicBezTo>
                    <a:pt x="3647" y="1912"/>
                    <a:pt x="3643" y="1899"/>
                    <a:pt x="3638" y="1881"/>
                  </a:cubicBezTo>
                  <a:cubicBezTo>
                    <a:pt x="3636" y="1876"/>
                    <a:pt x="3635" y="1871"/>
                    <a:pt x="3633" y="1866"/>
                  </a:cubicBezTo>
                  <a:cubicBezTo>
                    <a:pt x="3633" y="1864"/>
                    <a:pt x="3632" y="1861"/>
                    <a:pt x="3631" y="1858"/>
                  </a:cubicBezTo>
                  <a:cubicBezTo>
                    <a:pt x="3630" y="1855"/>
                    <a:pt x="3629" y="1852"/>
                    <a:pt x="3628" y="1849"/>
                  </a:cubicBezTo>
                  <a:cubicBezTo>
                    <a:pt x="3624" y="1838"/>
                    <a:pt x="3620" y="1825"/>
                    <a:pt x="3615" y="1813"/>
                  </a:cubicBezTo>
                  <a:cubicBezTo>
                    <a:pt x="3606" y="1789"/>
                    <a:pt x="3595" y="1765"/>
                    <a:pt x="3586" y="1748"/>
                  </a:cubicBezTo>
                  <a:cubicBezTo>
                    <a:pt x="3581" y="1739"/>
                    <a:pt x="3577" y="1732"/>
                    <a:pt x="3574" y="1727"/>
                  </a:cubicBezTo>
                  <a:cubicBezTo>
                    <a:pt x="3571" y="1722"/>
                    <a:pt x="3570" y="1719"/>
                    <a:pt x="3570" y="1719"/>
                  </a:cubicBezTo>
                  <a:cubicBezTo>
                    <a:pt x="3544" y="1734"/>
                    <a:pt x="3544" y="1734"/>
                    <a:pt x="3544" y="1734"/>
                  </a:cubicBezTo>
                  <a:cubicBezTo>
                    <a:pt x="3544" y="1734"/>
                    <a:pt x="3545" y="1737"/>
                    <a:pt x="3548" y="1742"/>
                  </a:cubicBezTo>
                  <a:cubicBezTo>
                    <a:pt x="3551" y="1747"/>
                    <a:pt x="3555" y="1753"/>
                    <a:pt x="3559" y="1762"/>
                  </a:cubicBezTo>
                  <a:close/>
                  <a:moveTo>
                    <a:pt x="48" y="70"/>
                  </a:moveTo>
                  <a:cubicBezTo>
                    <a:pt x="24" y="76"/>
                    <a:pt x="0" y="84"/>
                    <a:pt x="0" y="84"/>
                  </a:cubicBezTo>
                  <a:cubicBezTo>
                    <a:pt x="0" y="86"/>
                    <a:pt x="0" y="86"/>
                    <a:pt x="0" y="86"/>
                  </a:cubicBezTo>
                  <a:cubicBezTo>
                    <a:pt x="0" y="86"/>
                    <a:pt x="24" y="79"/>
                    <a:pt x="48" y="73"/>
                  </a:cubicBezTo>
                  <a:cubicBezTo>
                    <a:pt x="73" y="66"/>
                    <a:pt x="97" y="61"/>
                    <a:pt x="97" y="61"/>
                  </a:cubicBezTo>
                  <a:cubicBezTo>
                    <a:pt x="96" y="58"/>
                    <a:pt x="96" y="58"/>
                    <a:pt x="96" y="58"/>
                  </a:cubicBezTo>
                  <a:cubicBezTo>
                    <a:pt x="96" y="58"/>
                    <a:pt x="72" y="63"/>
                    <a:pt x="48" y="70"/>
                  </a:cubicBezTo>
                  <a:close/>
                  <a:moveTo>
                    <a:pt x="1473" y="37"/>
                  </a:moveTo>
                  <a:cubicBezTo>
                    <a:pt x="1417" y="33"/>
                    <a:pt x="1363" y="30"/>
                    <a:pt x="1311" y="27"/>
                  </a:cubicBezTo>
                  <a:cubicBezTo>
                    <a:pt x="1311" y="32"/>
                    <a:pt x="1311" y="36"/>
                    <a:pt x="1311" y="40"/>
                  </a:cubicBezTo>
                  <a:cubicBezTo>
                    <a:pt x="1363" y="44"/>
                    <a:pt x="1417" y="47"/>
                    <a:pt x="1473" y="51"/>
                  </a:cubicBezTo>
                  <a:cubicBezTo>
                    <a:pt x="1473" y="46"/>
                    <a:pt x="1473" y="42"/>
                    <a:pt x="1473" y="37"/>
                  </a:cubicBezTo>
                  <a:close/>
                  <a:moveTo>
                    <a:pt x="747" y="8"/>
                  </a:moveTo>
                  <a:cubicBezTo>
                    <a:pt x="720" y="7"/>
                    <a:pt x="695" y="7"/>
                    <a:pt x="673" y="6"/>
                  </a:cubicBezTo>
                  <a:cubicBezTo>
                    <a:pt x="629" y="5"/>
                    <a:pt x="595" y="5"/>
                    <a:pt x="571" y="4"/>
                  </a:cubicBezTo>
                  <a:cubicBezTo>
                    <a:pt x="559" y="3"/>
                    <a:pt x="550" y="3"/>
                    <a:pt x="544" y="2"/>
                  </a:cubicBezTo>
                  <a:cubicBezTo>
                    <a:pt x="541" y="2"/>
                    <a:pt x="539" y="2"/>
                    <a:pt x="537" y="1"/>
                  </a:cubicBezTo>
                  <a:cubicBezTo>
                    <a:pt x="536" y="1"/>
                    <a:pt x="535" y="0"/>
                    <a:pt x="535" y="0"/>
                  </a:cubicBezTo>
                  <a:cubicBezTo>
                    <a:pt x="535" y="0"/>
                    <a:pt x="536" y="1"/>
                    <a:pt x="537" y="1"/>
                  </a:cubicBezTo>
                  <a:cubicBezTo>
                    <a:pt x="539" y="2"/>
                    <a:pt x="541" y="2"/>
                    <a:pt x="544" y="3"/>
                  </a:cubicBezTo>
                  <a:cubicBezTo>
                    <a:pt x="550" y="4"/>
                    <a:pt x="559" y="6"/>
                    <a:pt x="571" y="7"/>
                  </a:cubicBezTo>
                  <a:cubicBezTo>
                    <a:pt x="594" y="9"/>
                    <a:pt x="629" y="12"/>
                    <a:pt x="673" y="15"/>
                  </a:cubicBezTo>
                  <a:cubicBezTo>
                    <a:pt x="695" y="16"/>
                    <a:pt x="720" y="17"/>
                    <a:pt x="746" y="18"/>
                  </a:cubicBezTo>
                  <a:cubicBezTo>
                    <a:pt x="763" y="19"/>
                    <a:pt x="780" y="19"/>
                    <a:pt x="798" y="20"/>
                  </a:cubicBezTo>
                  <a:cubicBezTo>
                    <a:pt x="798" y="16"/>
                    <a:pt x="798" y="12"/>
                    <a:pt x="797" y="9"/>
                  </a:cubicBezTo>
                  <a:cubicBezTo>
                    <a:pt x="780" y="8"/>
                    <a:pt x="763" y="8"/>
                    <a:pt x="747" y="8"/>
                  </a:cubicBezTo>
                  <a:close/>
                  <a:moveTo>
                    <a:pt x="400" y="20"/>
                  </a:moveTo>
                  <a:cubicBezTo>
                    <a:pt x="374" y="22"/>
                    <a:pt x="349" y="23"/>
                    <a:pt x="330" y="25"/>
                  </a:cubicBezTo>
                  <a:cubicBezTo>
                    <a:pt x="311" y="26"/>
                    <a:pt x="298" y="27"/>
                    <a:pt x="298" y="27"/>
                  </a:cubicBezTo>
                  <a:cubicBezTo>
                    <a:pt x="298" y="31"/>
                    <a:pt x="298" y="31"/>
                    <a:pt x="298" y="31"/>
                  </a:cubicBezTo>
                  <a:cubicBezTo>
                    <a:pt x="298" y="31"/>
                    <a:pt x="311" y="30"/>
                    <a:pt x="330" y="29"/>
                  </a:cubicBezTo>
                  <a:cubicBezTo>
                    <a:pt x="349" y="27"/>
                    <a:pt x="374" y="26"/>
                    <a:pt x="400" y="25"/>
                  </a:cubicBezTo>
                  <a:cubicBezTo>
                    <a:pt x="451" y="22"/>
                    <a:pt x="502" y="22"/>
                    <a:pt x="502" y="22"/>
                  </a:cubicBezTo>
                  <a:cubicBezTo>
                    <a:pt x="502" y="17"/>
                    <a:pt x="502" y="17"/>
                    <a:pt x="502" y="17"/>
                  </a:cubicBezTo>
                  <a:cubicBezTo>
                    <a:pt x="502" y="17"/>
                    <a:pt x="451" y="18"/>
                    <a:pt x="400" y="20"/>
                  </a:cubicBezTo>
                  <a:close/>
                  <a:moveTo>
                    <a:pt x="3411" y="1539"/>
                  </a:moveTo>
                  <a:cubicBezTo>
                    <a:pt x="3396" y="1527"/>
                    <a:pt x="3375" y="1512"/>
                    <a:pt x="3354" y="1498"/>
                  </a:cubicBezTo>
                  <a:cubicBezTo>
                    <a:pt x="3332" y="1483"/>
                    <a:pt x="3310" y="1470"/>
                    <a:pt x="3293" y="1461"/>
                  </a:cubicBezTo>
                  <a:cubicBezTo>
                    <a:pt x="3284" y="1456"/>
                    <a:pt x="3277" y="1452"/>
                    <a:pt x="3272" y="1450"/>
                  </a:cubicBezTo>
                  <a:cubicBezTo>
                    <a:pt x="3267" y="1447"/>
                    <a:pt x="3264" y="1446"/>
                    <a:pt x="3264" y="1446"/>
                  </a:cubicBezTo>
                  <a:cubicBezTo>
                    <a:pt x="3251" y="1470"/>
                    <a:pt x="3251" y="1470"/>
                    <a:pt x="3251" y="1470"/>
                  </a:cubicBezTo>
                  <a:cubicBezTo>
                    <a:pt x="3251" y="1470"/>
                    <a:pt x="3254" y="1472"/>
                    <a:pt x="3259" y="1474"/>
                  </a:cubicBezTo>
                  <a:cubicBezTo>
                    <a:pt x="3264" y="1477"/>
                    <a:pt x="3271" y="1481"/>
                    <a:pt x="3279" y="1485"/>
                  </a:cubicBezTo>
                  <a:cubicBezTo>
                    <a:pt x="3295" y="1495"/>
                    <a:pt x="3317" y="1507"/>
                    <a:pt x="3338" y="1521"/>
                  </a:cubicBezTo>
                  <a:cubicBezTo>
                    <a:pt x="3359" y="1535"/>
                    <a:pt x="3379" y="1550"/>
                    <a:pt x="3393" y="1562"/>
                  </a:cubicBezTo>
                  <a:cubicBezTo>
                    <a:pt x="3401" y="1568"/>
                    <a:pt x="3407" y="1573"/>
                    <a:pt x="3411" y="1576"/>
                  </a:cubicBezTo>
                  <a:cubicBezTo>
                    <a:pt x="3415" y="1580"/>
                    <a:pt x="3417" y="1582"/>
                    <a:pt x="3417" y="1582"/>
                  </a:cubicBezTo>
                  <a:cubicBezTo>
                    <a:pt x="3436" y="1560"/>
                    <a:pt x="3436" y="1560"/>
                    <a:pt x="3436" y="1560"/>
                  </a:cubicBezTo>
                  <a:cubicBezTo>
                    <a:pt x="3436" y="1560"/>
                    <a:pt x="3434" y="1558"/>
                    <a:pt x="3430" y="1554"/>
                  </a:cubicBezTo>
                  <a:cubicBezTo>
                    <a:pt x="3425" y="1551"/>
                    <a:pt x="3419" y="1545"/>
                    <a:pt x="3411" y="1539"/>
                  </a:cubicBezTo>
                  <a:close/>
                  <a:moveTo>
                    <a:pt x="3397" y="2879"/>
                  </a:moveTo>
                  <a:cubicBezTo>
                    <a:pt x="3391" y="2887"/>
                    <a:pt x="3384" y="2897"/>
                    <a:pt x="3376" y="2907"/>
                  </a:cubicBezTo>
                  <a:cubicBezTo>
                    <a:pt x="3361" y="2926"/>
                    <a:pt x="3346" y="2946"/>
                    <a:pt x="3346" y="2946"/>
                  </a:cubicBezTo>
                  <a:cubicBezTo>
                    <a:pt x="3374" y="2968"/>
                    <a:pt x="3374" y="2968"/>
                    <a:pt x="3374" y="2968"/>
                  </a:cubicBezTo>
                  <a:cubicBezTo>
                    <a:pt x="3374" y="2968"/>
                    <a:pt x="3390" y="2948"/>
                    <a:pt x="3405" y="2928"/>
                  </a:cubicBezTo>
                  <a:cubicBezTo>
                    <a:pt x="3413" y="2918"/>
                    <a:pt x="3420" y="2908"/>
                    <a:pt x="3426" y="2900"/>
                  </a:cubicBezTo>
                  <a:cubicBezTo>
                    <a:pt x="3431" y="2893"/>
                    <a:pt x="3435" y="2888"/>
                    <a:pt x="3435" y="2888"/>
                  </a:cubicBezTo>
                  <a:cubicBezTo>
                    <a:pt x="3406" y="2867"/>
                    <a:pt x="3406" y="2867"/>
                    <a:pt x="3406" y="2867"/>
                  </a:cubicBezTo>
                  <a:cubicBezTo>
                    <a:pt x="3406" y="2867"/>
                    <a:pt x="3402" y="2872"/>
                    <a:pt x="3397" y="2879"/>
                  </a:cubicBezTo>
                  <a:close/>
                  <a:moveTo>
                    <a:pt x="2978" y="1333"/>
                  </a:moveTo>
                  <a:cubicBezTo>
                    <a:pt x="2966" y="1329"/>
                    <a:pt x="2953" y="1325"/>
                    <a:pt x="2942" y="1322"/>
                  </a:cubicBezTo>
                  <a:cubicBezTo>
                    <a:pt x="2936" y="1320"/>
                    <a:pt x="2931" y="1318"/>
                    <a:pt x="2925" y="1317"/>
                  </a:cubicBezTo>
                  <a:cubicBezTo>
                    <a:pt x="2920" y="1315"/>
                    <a:pt x="2915" y="1314"/>
                    <a:pt x="2910" y="1313"/>
                  </a:cubicBezTo>
                  <a:cubicBezTo>
                    <a:pt x="2892" y="1307"/>
                    <a:pt x="2880" y="1304"/>
                    <a:pt x="2880" y="1304"/>
                  </a:cubicBezTo>
                  <a:cubicBezTo>
                    <a:pt x="2873" y="1329"/>
                    <a:pt x="2873" y="1329"/>
                    <a:pt x="2873" y="1329"/>
                  </a:cubicBezTo>
                  <a:cubicBezTo>
                    <a:pt x="2873" y="1329"/>
                    <a:pt x="2885" y="1333"/>
                    <a:pt x="2903" y="1338"/>
                  </a:cubicBezTo>
                  <a:cubicBezTo>
                    <a:pt x="2908" y="1339"/>
                    <a:pt x="2913" y="1341"/>
                    <a:pt x="2918" y="1342"/>
                  </a:cubicBezTo>
                  <a:cubicBezTo>
                    <a:pt x="2923" y="1344"/>
                    <a:pt x="2929" y="1345"/>
                    <a:pt x="2934" y="1347"/>
                  </a:cubicBezTo>
                  <a:cubicBezTo>
                    <a:pt x="2946" y="1351"/>
                    <a:pt x="2958" y="1355"/>
                    <a:pt x="2970" y="1358"/>
                  </a:cubicBezTo>
                  <a:cubicBezTo>
                    <a:pt x="2994" y="1366"/>
                    <a:pt x="3018" y="1374"/>
                    <a:pt x="3036" y="1380"/>
                  </a:cubicBezTo>
                  <a:cubicBezTo>
                    <a:pt x="3054" y="1387"/>
                    <a:pt x="3066" y="1391"/>
                    <a:pt x="3066" y="1391"/>
                  </a:cubicBezTo>
                  <a:cubicBezTo>
                    <a:pt x="3075" y="1365"/>
                    <a:pt x="3075" y="1365"/>
                    <a:pt x="3075" y="1365"/>
                  </a:cubicBezTo>
                  <a:cubicBezTo>
                    <a:pt x="3075" y="1365"/>
                    <a:pt x="3063" y="1361"/>
                    <a:pt x="3045" y="1355"/>
                  </a:cubicBezTo>
                  <a:cubicBezTo>
                    <a:pt x="3027" y="1348"/>
                    <a:pt x="3002" y="1341"/>
                    <a:pt x="2978" y="1333"/>
                  </a:cubicBezTo>
                  <a:close/>
                  <a:moveTo>
                    <a:pt x="2579" y="1243"/>
                  </a:moveTo>
                  <a:cubicBezTo>
                    <a:pt x="2553" y="1239"/>
                    <a:pt x="2528" y="1236"/>
                    <a:pt x="2509" y="1234"/>
                  </a:cubicBezTo>
                  <a:cubicBezTo>
                    <a:pt x="2490" y="1231"/>
                    <a:pt x="2477" y="1230"/>
                    <a:pt x="2477" y="1230"/>
                  </a:cubicBezTo>
                  <a:cubicBezTo>
                    <a:pt x="2474" y="1254"/>
                    <a:pt x="2474" y="1254"/>
                    <a:pt x="2474" y="1254"/>
                  </a:cubicBezTo>
                  <a:cubicBezTo>
                    <a:pt x="2474" y="1254"/>
                    <a:pt x="2487" y="1256"/>
                    <a:pt x="2506" y="1258"/>
                  </a:cubicBezTo>
                  <a:cubicBezTo>
                    <a:pt x="2525" y="1260"/>
                    <a:pt x="2550" y="1264"/>
                    <a:pt x="2575" y="1268"/>
                  </a:cubicBezTo>
                  <a:cubicBezTo>
                    <a:pt x="2600" y="1271"/>
                    <a:pt x="2625" y="1275"/>
                    <a:pt x="2644" y="1279"/>
                  </a:cubicBezTo>
                  <a:cubicBezTo>
                    <a:pt x="2663" y="1282"/>
                    <a:pt x="2675" y="1284"/>
                    <a:pt x="2675" y="1284"/>
                  </a:cubicBezTo>
                  <a:cubicBezTo>
                    <a:pt x="2680" y="1259"/>
                    <a:pt x="2680" y="1259"/>
                    <a:pt x="2680" y="1259"/>
                  </a:cubicBezTo>
                  <a:cubicBezTo>
                    <a:pt x="2680" y="1259"/>
                    <a:pt x="2667" y="1257"/>
                    <a:pt x="2648" y="1254"/>
                  </a:cubicBezTo>
                  <a:cubicBezTo>
                    <a:pt x="2629" y="1251"/>
                    <a:pt x="2604" y="1247"/>
                    <a:pt x="2579" y="1243"/>
                  </a:cubicBezTo>
                  <a:close/>
                  <a:moveTo>
                    <a:pt x="3591" y="2521"/>
                  </a:moveTo>
                  <a:cubicBezTo>
                    <a:pt x="3589" y="2526"/>
                    <a:pt x="3587" y="2533"/>
                    <a:pt x="3583" y="2542"/>
                  </a:cubicBezTo>
                  <a:cubicBezTo>
                    <a:pt x="3577" y="2560"/>
                    <a:pt x="3567" y="2583"/>
                    <a:pt x="3557" y="2606"/>
                  </a:cubicBezTo>
                  <a:cubicBezTo>
                    <a:pt x="3547" y="2629"/>
                    <a:pt x="3536" y="2652"/>
                    <a:pt x="3528" y="2668"/>
                  </a:cubicBezTo>
                  <a:cubicBezTo>
                    <a:pt x="3519" y="2685"/>
                    <a:pt x="3513" y="2696"/>
                    <a:pt x="3513" y="2696"/>
                  </a:cubicBezTo>
                  <a:cubicBezTo>
                    <a:pt x="3544" y="2713"/>
                    <a:pt x="3544" y="2713"/>
                    <a:pt x="3544" y="2713"/>
                  </a:cubicBezTo>
                  <a:cubicBezTo>
                    <a:pt x="3544" y="2713"/>
                    <a:pt x="3550" y="2701"/>
                    <a:pt x="3558" y="2684"/>
                  </a:cubicBezTo>
                  <a:cubicBezTo>
                    <a:pt x="3567" y="2667"/>
                    <a:pt x="3578" y="2643"/>
                    <a:pt x="3589" y="2620"/>
                  </a:cubicBezTo>
                  <a:cubicBezTo>
                    <a:pt x="3599" y="2596"/>
                    <a:pt x="3608" y="2572"/>
                    <a:pt x="3615" y="2554"/>
                  </a:cubicBezTo>
                  <a:cubicBezTo>
                    <a:pt x="3618" y="2545"/>
                    <a:pt x="3621" y="2537"/>
                    <a:pt x="3623" y="2532"/>
                  </a:cubicBezTo>
                  <a:cubicBezTo>
                    <a:pt x="3625" y="2527"/>
                    <a:pt x="3626" y="2524"/>
                    <a:pt x="3626" y="2524"/>
                  </a:cubicBezTo>
                  <a:cubicBezTo>
                    <a:pt x="3594" y="2512"/>
                    <a:pt x="3594" y="2512"/>
                    <a:pt x="3594" y="2512"/>
                  </a:cubicBezTo>
                  <a:cubicBezTo>
                    <a:pt x="3594" y="2512"/>
                    <a:pt x="3593" y="2515"/>
                    <a:pt x="3591" y="2521"/>
                  </a:cubicBezTo>
                  <a:close/>
                  <a:moveTo>
                    <a:pt x="3682" y="2148"/>
                  </a:moveTo>
                  <a:cubicBezTo>
                    <a:pt x="3682" y="2138"/>
                    <a:pt x="3682" y="2130"/>
                    <a:pt x="3681" y="2124"/>
                  </a:cubicBezTo>
                  <a:cubicBezTo>
                    <a:pt x="3681" y="2119"/>
                    <a:pt x="3681" y="2116"/>
                    <a:pt x="3681" y="2116"/>
                  </a:cubicBezTo>
                  <a:cubicBezTo>
                    <a:pt x="3649" y="2118"/>
                    <a:pt x="3649" y="2118"/>
                    <a:pt x="3649" y="2118"/>
                  </a:cubicBezTo>
                  <a:cubicBezTo>
                    <a:pt x="3649" y="2118"/>
                    <a:pt x="3649" y="2121"/>
                    <a:pt x="3649" y="2126"/>
                  </a:cubicBezTo>
                  <a:cubicBezTo>
                    <a:pt x="3650" y="2132"/>
                    <a:pt x="3650" y="2140"/>
                    <a:pt x="3650" y="2149"/>
                  </a:cubicBezTo>
                  <a:cubicBezTo>
                    <a:pt x="3651" y="2168"/>
                    <a:pt x="3651" y="2193"/>
                    <a:pt x="3650" y="2218"/>
                  </a:cubicBezTo>
                  <a:cubicBezTo>
                    <a:pt x="3649" y="2243"/>
                    <a:pt x="3647" y="2268"/>
                    <a:pt x="3645" y="2287"/>
                  </a:cubicBezTo>
                  <a:cubicBezTo>
                    <a:pt x="3644" y="2296"/>
                    <a:pt x="3643" y="2304"/>
                    <a:pt x="3642" y="2309"/>
                  </a:cubicBezTo>
                  <a:cubicBezTo>
                    <a:pt x="3642" y="2315"/>
                    <a:pt x="3641" y="2318"/>
                    <a:pt x="3641" y="2318"/>
                  </a:cubicBezTo>
                  <a:cubicBezTo>
                    <a:pt x="3674" y="2322"/>
                    <a:pt x="3674" y="2322"/>
                    <a:pt x="3674" y="2322"/>
                  </a:cubicBezTo>
                  <a:cubicBezTo>
                    <a:pt x="3674" y="2322"/>
                    <a:pt x="3674" y="2319"/>
                    <a:pt x="3675" y="2313"/>
                  </a:cubicBezTo>
                  <a:cubicBezTo>
                    <a:pt x="3676" y="2308"/>
                    <a:pt x="3677" y="2300"/>
                    <a:pt x="3678" y="2290"/>
                  </a:cubicBezTo>
                  <a:cubicBezTo>
                    <a:pt x="3680" y="2271"/>
                    <a:pt x="3682" y="2245"/>
                    <a:pt x="3682" y="2219"/>
                  </a:cubicBezTo>
                  <a:cubicBezTo>
                    <a:pt x="3683" y="2193"/>
                    <a:pt x="3683" y="2167"/>
                    <a:pt x="3682" y="2148"/>
                  </a:cubicBezTo>
                  <a:close/>
                  <a:moveTo>
                    <a:pt x="2076" y="230"/>
                  </a:moveTo>
                  <a:cubicBezTo>
                    <a:pt x="2082" y="230"/>
                    <a:pt x="2088" y="229"/>
                    <a:pt x="2094" y="229"/>
                  </a:cubicBezTo>
                  <a:cubicBezTo>
                    <a:pt x="2083" y="211"/>
                    <a:pt x="2068" y="197"/>
                    <a:pt x="2052" y="185"/>
                  </a:cubicBezTo>
                  <a:cubicBezTo>
                    <a:pt x="2032" y="169"/>
                    <a:pt x="2010" y="156"/>
                    <a:pt x="1987" y="145"/>
                  </a:cubicBezTo>
                  <a:cubicBezTo>
                    <a:pt x="1974" y="139"/>
                    <a:pt x="1961" y="133"/>
                    <a:pt x="1948" y="128"/>
                  </a:cubicBezTo>
                  <a:cubicBezTo>
                    <a:pt x="1948" y="133"/>
                    <a:pt x="1947" y="139"/>
                    <a:pt x="1946" y="144"/>
                  </a:cubicBezTo>
                  <a:cubicBezTo>
                    <a:pt x="1958" y="149"/>
                    <a:pt x="1969" y="154"/>
                    <a:pt x="1980" y="159"/>
                  </a:cubicBezTo>
                  <a:cubicBezTo>
                    <a:pt x="2002" y="170"/>
                    <a:pt x="2023" y="182"/>
                    <a:pt x="2043" y="197"/>
                  </a:cubicBezTo>
                  <a:cubicBezTo>
                    <a:pt x="2055" y="207"/>
                    <a:pt x="2066" y="218"/>
                    <a:pt x="2076" y="230"/>
                  </a:cubicBezTo>
                  <a:close/>
                  <a:moveTo>
                    <a:pt x="1949" y="472"/>
                  </a:moveTo>
                  <a:cubicBezTo>
                    <a:pt x="1906" y="496"/>
                    <a:pt x="1861" y="515"/>
                    <a:pt x="1816" y="532"/>
                  </a:cubicBezTo>
                  <a:cubicBezTo>
                    <a:pt x="1814" y="533"/>
                    <a:pt x="1812" y="534"/>
                    <a:pt x="1810" y="535"/>
                  </a:cubicBezTo>
                  <a:cubicBezTo>
                    <a:pt x="1813" y="539"/>
                    <a:pt x="1816" y="544"/>
                    <a:pt x="1819" y="549"/>
                  </a:cubicBezTo>
                  <a:cubicBezTo>
                    <a:pt x="1820" y="549"/>
                    <a:pt x="1821" y="549"/>
                    <a:pt x="1822" y="548"/>
                  </a:cubicBezTo>
                  <a:cubicBezTo>
                    <a:pt x="1868" y="531"/>
                    <a:pt x="1914" y="511"/>
                    <a:pt x="1957" y="486"/>
                  </a:cubicBezTo>
                  <a:cubicBezTo>
                    <a:pt x="1961" y="484"/>
                    <a:pt x="1965" y="482"/>
                    <a:pt x="1969" y="480"/>
                  </a:cubicBezTo>
                  <a:cubicBezTo>
                    <a:pt x="1963" y="477"/>
                    <a:pt x="1958" y="474"/>
                    <a:pt x="1952" y="470"/>
                  </a:cubicBezTo>
                  <a:cubicBezTo>
                    <a:pt x="1951" y="471"/>
                    <a:pt x="1950" y="471"/>
                    <a:pt x="1949" y="472"/>
                  </a:cubicBezTo>
                  <a:close/>
                  <a:moveTo>
                    <a:pt x="1835" y="1182"/>
                  </a:moveTo>
                  <a:cubicBezTo>
                    <a:pt x="1816" y="1180"/>
                    <a:pt x="1790" y="1179"/>
                    <a:pt x="1765" y="1178"/>
                  </a:cubicBezTo>
                  <a:cubicBezTo>
                    <a:pt x="1739" y="1177"/>
                    <a:pt x="1714" y="1176"/>
                    <a:pt x="1695" y="1175"/>
                  </a:cubicBezTo>
                  <a:cubicBezTo>
                    <a:pt x="1676" y="1174"/>
                    <a:pt x="1663" y="1173"/>
                    <a:pt x="1663" y="1173"/>
                  </a:cubicBezTo>
                  <a:cubicBezTo>
                    <a:pt x="1662" y="1194"/>
                    <a:pt x="1662" y="1194"/>
                    <a:pt x="1662" y="1194"/>
                  </a:cubicBezTo>
                  <a:cubicBezTo>
                    <a:pt x="1662" y="1194"/>
                    <a:pt x="1675" y="1195"/>
                    <a:pt x="1694" y="1196"/>
                  </a:cubicBezTo>
                  <a:cubicBezTo>
                    <a:pt x="1713" y="1197"/>
                    <a:pt x="1738" y="1198"/>
                    <a:pt x="1764" y="1199"/>
                  </a:cubicBezTo>
                  <a:cubicBezTo>
                    <a:pt x="1789" y="1200"/>
                    <a:pt x="1815" y="1202"/>
                    <a:pt x="1834" y="1203"/>
                  </a:cubicBezTo>
                  <a:cubicBezTo>
                    <a:pt x="1843" y="1204"/>
                    <a:pt x="1851" y="1204"/>
                    <a:pt x="1857" y="1205"/>
                  </a:cubicBezTo>
                  <a:cubicBezTo>
                    <a:pt x="1862" y="1205"/>
                    <a:pt x="1865" y="1205"/>
                    <a:pt x="1865" y="1205"/>
                  </a:cubicBezTo>
                  <a:cubicBezTo>
                    <a:pt x="1867" y="1184"/>
                    <a:pt x="1867" y="1184"/>
                    <a:pt x="1867" y="1184"/>
                  </a:cubicBezTo>
                  <a:cubicBezTo>
                    <a:pt x="1867" y="1184"/>
                    <a:pt x="1864" y="1184"/>
                    <a:pt x="1858" y="1183"/>
                  </a:cubicBezTo>
                  <a:cubicBezTo>
                    <a:pt x="1853" y="1183"/>
                    <a:pt x="1845" y="1182"/>
                    <a:pt x="1835" y="1182"/>
                  </a:cubicBezTo>
                  <a:close/>
                  <a:moveTo>
                    <a:pt x="2069" y="1220"/>
                  </a:moveTo>
                  <a:cubicBezTo>
                    <a:pt x="2272" y="1234"/>
                    <a:pt x="2272" y="1234"/>
                    <a:pt x="2272" y="1234"/>
                  </a:cubicBezTo>
                  <a:cubicBezTo>
                    <a:pt x="2274" y="1211"/>
                    <a:pt x="2274" y="1211"/>
                    <a:pt x="2274" y="1211"/>
                  </a:cubicBezTo>
                  <a:cubicBezTo>
                    <a:pt x="2070" y="1197"/>
                    <a:pt x="2070" y="1197"/>
                    <a:pt x="2070" y="1197"/>
                  </a:cubicBezTo>
                  <a:lnTo>
                    <a:pt x="2069" y="1220"/>
                  </a:lnTo>
                  <a:close/>
                  <a:moveTo>
                    <a:pt x="2100" y="361"/>
                  </a:moveTo>
                  <a:cubicBezTo>
                    <a:pt x="2105" y="349"/>
                    <a:pt x="2110" y="337"/>
                    <a:pt x="2113" y="324"/>
                  </a:cubicBezTo>
                  <a:cubicBezTo>
                    <a:pt x="2113" y="321"/>
                    <a:pt x="2114" y="319"/>
                    <a:pt x="2114" y="316"/>
                  </a:cubicBezTo>
                  <a:cubicBezTo>
                    <a:pt x="2113" y="316"/>
                    <a:pt x="2113" y="316"/>
                    <a:pt x="2112" y="316"/>
                  </a:cubicBezTo>
                  <a:cubicBezTo>
                    <a:pt x="2107" y="316"/>
                    <a:pt x="2102" y="316"/>
                    <a:pt x="2098" y="316"/>
                  </a:cubicBezTo>
                  <a:cubicBezTo>
                    <a:pt x="2097" y="317"/>
                    <a:pt x="2097" y="319"/>
                    <a:pt x="2097" y="320"/>
                  </a:cubicBezTo>
                  <a:cubicBezTo>
                    <a:pt x="2094" y="332"/>
                    <a:pt x="2090" y="343"/>
                    <a:pt x="2085" y="354"/>
                  </a:cubicBezTo>
                  <a:cubicBezTo>
                    <a:pt x="2080" y="365"/>
                    <a:pt x="2073" y="375"/>
                    <a:pt x="2066" y="384"/>
                  </a:cubicBezTo>
                  <a:cubicBezTo>
                    <a:pt x="2051" y="403"/>
                    <a:pt x="2033" y="419"/>
                    <a:pt x="2013" y="432"/>
                  </a:cubicBezTo>
                  <a:cubicBezTo>
                    <a:pt x="2019" y="435"/>
                    <a:pt x="2024" y="437"/>
                    <a:pt x="2030" y="439"/>
                  </a:cubicBezTo>
                  <a:cubicBezTo>
                    <a:pt x="2031" y="439"/>
                    <a:pt x="2031" y="439"/>
                    <a:pt x="2032" y="439"/>
                  </a:cubicBezTo>
                  <a:cubicBezTo>
                    <a:pt x="2049" y="426"/>
                    <a:pt x="2065" y="412"/>
                    <a:pt x="2079" y="395"/>
                  </a:cubicBezTo>
                  <a:cubicBezTo>
                    <a:pt x="2087" y="384"/>
                    <a:pt x="2094" y="373"/>
                    <a:pt x="2100" y="361"/>
                  </a:cubicBezTo>
                  <a:close/>
                  <a:moveTo>
                    <a:pt x="1733" y="579"/>
                  </a:moveTo>
                  <a:cubicBezTo>
                    <a:pt x="1730" y="574"/>
                    <a:pt x="1728" y="569"/>
                    <a:pt x="1725" y="564"/>
                  </a:cubicBezTo>
                  <a:cubicBezTo>
                    <a:pt x="1710" y="568"/>
                    <a:pt x="1695" y="573"/>
                    <a:pt x="1680" y="578"/>
                  </a:cubicBezTo>
                  <a:cubicBezTo>
                    <a:pt x="1638" y="591"/>
                    <a:pt x="1596" y="604"/>
                    <a:pt x="1555" y="618"/>
                  </a:cubicBezTo>
                  <a:cubicBezTo>
                    <a:pt x="1557" y="623"/>
                    <a:pt x="1559" y="628"/>
                    <a:pt x="1561" y="634"/>
                  </a:cubicBezTo>
                  <a:cubicBezTo>
                    <a:pt x="1601" y="620"/>
                    <a:pt x="1643" y="607"/>
                    <a:pt x="1685" y="594"/>
                  </a:cubicBezTo>
                  <a:cubicBezTo>
                    <a:pt x="1701" y="589"/>
                    <a:pt x="1717" y="584"/>
                    <a:pt x="1733" y="57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77"/>
            <p:cNvSpPr>
              <a:spLocks/>
            </p:cNvSpPr>
            <p:nvPr/>
          </p:nvSpPr>
          <p:spPr bwMode="auto">
            <a:xfrm>
              <a:off x="-3859698" y="1078717"/>
              <a:ext cx="10910891" cy="5975697"/>
            </a:xfrm>
            <a:custGeom>
              <a:avLst/>
              <a:gdLst>
                <a:gd name="T0" fmla="*/ 889 w 5391"/>
                <a:gd name="T1" fmla="*/ 185 h 2951"/>
                <a:gd name="T2" fmla="*/ 1785 w 5391"/>
                <a:gd name="T3" fmla="*/ 25 h 2951"/>
                <a:gd name="T4" fmla="*/ 2012 w 5391"/>
                <a:gd name="T5" fmla="*/ 1 h 2951"/>
                <a:gd name="T6" fmla="*/ 2126 w 5391"/>
                <a:gd name="T7" fmla="*/ 0 h 2951"/>
                <a:gd name="T8" fmla="*/ 2919 w 5391"/>
                <a:gd name="T9" fmla="*/ 83 h 2951"/>
                <a:gd name="T10" fmla="*/ 3021 w 5391"/>
                <a:gd name="T11" fmla="*/ 101 h 2951"/>
                <a:gd name="T12" fmla="*/ 3141 w 5391"/>
                <a:gd name="T13" fmla="*/ 132 h 2951"/>
                <a:gd name="T14" fmla="*/ 3485 w 5391"/>
                <a:gd name="T15" fmla="*/ 396 h 2951"/>
                <a:gd name="T16" fmla="*/ 3470 w 5391"/>
                <a:gd name="T17" fmla="*/ 473 h 2951"/>
                <a:gd name="T18" fmla="*/ 3439 w 5391"/>
                <a:gd name="T19" fmla="*/ 525 h 2951"/>
                <a:gd name="T20" fmla="*/ 3136 w 5391"/>
                <a:gd name="T21" fmla="*/ 676 h 2951"/>
                <a:gd name="T22" fmla="*/ 2748 w 5391"/>
                <a:gd name="T23" fmla="*/ 800 h 2951"/>
                <a:gd name="T24" fmla="*/ 2670 w 5391"/>
                <a:gd name="T25" fmla="*/ 873 h 2951"/>
                <a:gd name="T26" fmla="*/ 2687 w 5391"/>
                <a:gd name="T27" fmla="*/ 1019 h 2951"/>
                <a:gd name="T28" fmla="*/ 2707 w 5391"/>
                <a:gd name="T29" fmla="*/ 1039 h 2951"/>
                <a:gd name="T30" fmla="*/ 2731 w 5391"/>
                <a:gd name="T31" fmla="*/ 1056 h 2951"/>
                <a:gd name="T32" fmla="*/ 3000 w 5391"/>
                <a:gd name="T33" fmla="*/ 1121 h 2951"/>
                <a:gd name="T34" fmla="*/ 3350 w 5391"/>
                <a:gd name="T35" fmla="*/ 1126 h 2951"/>
                <a:gd name="T36" fmla="*/ 3375 w 5391"/>
                <a:gd name="T37" fmla="*/ 1125 h 2951"/>
                <a:gd name="T38" fmla="*/ 3956 w 5391"/>
                <a:gd name="T39" fmla="*/ 1134 h 2951"/>
                <a:gd name="T40" fmla="*/ 4852 w 5391"/>
                <a:gd name="T41" fmla="*/ 1453 h 2951"/>
                <a:gd name="T42" fmla="*/ 5176 w 5391"/>
                <a:gd name="T43" fmla="*/ 1757 h 2951"/>
                <a:gd name="T44" fmla="*/ 5301 w 5391"/>
                <a:gd name="T45" fmla="*/ 1963 h 2951"/>
                <a:gd name="T46" fmla="*/ 5383 w 5391"/>
                <a:gd name="T47" fmla="*/ 2228 h 2951"/>
                <a:gd name="T48" fmla="*/ 5353 w 5391"/>
                <a:gd name="T49" fmla="*/ 2458 h 2951"/>
                <a:gd name="T50" fmla="*/ 5347 w 5391"/>
                <a:gd name="T51" fmla="*/ 2512 h 2951"/>
                <a:gd name="T52" fmla="*/ 5344 w 5391"/>
                <a:gd name="T53" fmla="*/ 2595 h 2951"/>
                <a:gd name="T54" fmla="*/ 5345 w 5391"/>
                <a:gd name="T55" fmla="*/ 2620 h 2951"/>
                <a:gd name="T56" fmla="*/ 5382 w 5391"/>
                <a:gd name="T57" fmla="*/ 2808 h 2951"/>
                <a:gd name="T58" fmla="*/ 5390 w 5391"/>
                <a:gd name="T59" fmla="*/ 2873 h 2951"/>
                <a:gd name="T60" fmla="*/ 5386 w 5391"/>
                <a:gd name="T61" fmla="*/ 2939 h 2951"/>
                <a:gd name="T62" fmla="*/ 5350 w 5391"/>
                <a:gd name="T63" fmla="*/ 2915 h 2951"/>
                <a:gd name="T64" fmla="*/ 5370 w 5391"/>
                <a:gd name="T65" fmla="*/ 2915 h 2951"/>
                <a:gd name="T66" fmla="*/ 5369 w 5391"/>
                <a:gd name="T67" fmla="*/ 2853 h 2951"/>
                <a:gd name="T68" fmla="*/ 5336 w 5391"/>
                <a:gd name="T69" fmla="*/ 2686 h 2951"/>
                <a:gd name="T70" fmla="*/ 5325 w 5391"/>
                <a:gd name="T71" fmla="*/ 2601 h 2951"/>
                <a:gd name="T72" fmla="*/ 5325 w 5391"/>
                <a:gd name="T73" fmla="*/ 2589 h 2951"/>
                <a:gd name="T74" fmla="*/ 5328 w 5391"/>
                <a:gd name="T75" fmla="*/ 2509 h 2951"/>
                <a:gd name="T76" fmla="*/ 5336 w 5391"/>
                <a:gd name="T77" fmla="*/ 2438 h 2951"/>
                <a:gd name="T78" fmla="*/ 5333 w 5391"/>
                <a:gd name="T79" fmla="*/ 2096 h 2951"/>
                <a:gd name="T80" fmla="*/ 5182 w 5391"/>
                <a:gd name="T81" fmla="*/ 1795 h 2951"/>
                <a:gd name="T82" fmla="*/ 4951 w 5391"/>
                <a:gd name="T83" fmla="*/ 1548 h 2951"/>
                <a:gd name="T84" fmla="*/ 4222 w 5391"/>
                <a:gd name="T85" fmla="*/ 1196 h 2951"/>
                <a:gd name="T86" fmla="*/ 3409 w 5391"/>
                <a:gd name="T87" fmla="*/ 1137 h 2951"/>
                <a:gd name="T88" fmla="*/ 3352 w 5391"/>
                <a:gd name="T89" fmla="*/ 1138 h 2951"/>
                <a:gd name="T90" fmla="*/ 3136 w 5391"/>
                <a:gd name="T91" fmla="*/ 1138 h 2951"/>
                <a:gd name="T92" fmla="*/ 2733 w 5391"/>
                <a:gd name="T93" fmla="*/ 1070 h 2951"/>
                <a:gd name="T94" fmla="*/ 2704 w 5391"/>
                <a:gd name="T95" fmla="*/ 1050 h 2951"/>
                <a:gd name="T96" fmla="*/ 2685 w 5391"/>
                <a:gd name="T97" fmla="*/ 1032 h 2951"/>
                <a:gd name="T98" fmla="*/ 2657 w 5391"/>
                <a:gd name="T99" fmla="*/ 876 h 2951"/>
                <a:gd name="T100" fmla="*/ 2713 w 5391"/>
                <a:gd name="T101" fmla="*/ 810 h 2951"/>
                <a:gd name="T102" fmla="*/ 3067 w 5391"/>
                <a:gd name="T103" fmla="*/ 683 h 2951"/>
                <a:gd name="T104" fmla="*/ 3383 w 5391"/>
                <a:gd name="T105" fmla="*/ 565 h 2951"/>
                <a:gd name="T106" fmla="*/ 3459 w 5391"/>
                <a:gd name="T107" fmla="*/ 477 h 2951"/>
                <a:gd name="T108" fmla="*/ 3477 w 5391"/>
                <a:gd name="T109" fmla="*/ 397 h 2951"/>
                <a:gd name="T110" fmla="*/ 3139 w 5391"/>
                <a:gd name="T111" fmla="*/ 139 h 2951"/>
                <a:gd name="T112" fmla="*/ 3019 w 5391"/>
                <a:gd name="T113" fmla="*/ 108 h 2951"/>
                <a:gd name="T114" fmla="*/ 2918 w 5391"/>
                <a:gd name="T115" fmla="*/ 89 h 2951"/>
                <a:gd name="T116" fmla="*/ 2126 w 5391"/>
                <a:gd name="T117" fmla="*/ 5 h 2951"/>
                <a:gd name="T118" fmla="*/ 2012 w 5391"/>
                <a:gd name="T119" fmla="*/ 5 h 2951"/>
                <a:gd name="T120" fmla="*/ 1786 w 5391"/>
                <a:gd name="T121" fmla="*/ 30 h 2951"/>
                <a:gd name="T122" fmla="*/ 889 w 5391"/>
                <a:gd name="T123" fmla="*/ 187 h 2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91" h="2951">
                  <a:moveTo>
                    <a:pt x="0" y="382"/>
                  </a:moveTo>
                  <a:cubicBezTo>
                    <a:pt x="146" y="342"/>
                    <a:pt x="293" y="303"/>
                    <a:pt x="441" y="268"/>
                  </a:cubicBezTo>
                  <a:cubicBezTo>
                    <a:pt x="515" y="251"/>
                    <a:pt x="589" y="235"/>
                    <a:pt x="664" y="221"/>
                  </a:cubicBezTo>
                  <a:cubicBezTo>
                    <a:pt x="738" y="207"/>
                    <a:pt x="813" y="195"/>
                    <a:pt x="889" y="185"/>
                  </a:cubicBezTo>
                  <a:cubicBezTo>
                    <a:pt x="1039" y="164"/>
                    <a:pt x="1189" y="142"/>
                    <a:pt x="1338" y="111"/>
                  </a:cubicBezTo>
                  <a:cubicBezTo>
                    <a:pt x="1375" y="104"/>
                    <a:pt x="1412" y="95"/>
                    <a:pt x="1449" y="87"/>
                  </a:cubicBezTo>
                  <a:cubicBezTo>
                    <a:pt x="1486" y="79"/>
                    <a:pt x="1524" y="71"/>
                    <a:pt x="1561" y="64"/>
                  </a:cubicBezTo>
                  <a:cubicBezTo>
                    <a:pt x="1635" y="49"/>
                    <a:pt x="1710" y="35"/>
                    <a:pt x="1785" y="25"/>
                  </a:cubicBezTo>
                  <a:cubicBezTo>
                    <a:pt x="1814" y="22"/>
                    <a:pt x="1814" y="22"/>
                    <a:pt x="1814" y="22"/>
                  </a:cubicBezTo>
                  <a:cubicBezTo>
                    <a:pt x="1823" y="20"/>
                    <a:pt x="1832" y="19"/>
                    <a:pt x="1842" y="18"/>
                  </a:cubicBezTo>
                  <a:cubicBezTo>
                    <a:pt x="1860" y="14"/>
                    <a:pt x="1879" y="12"/>
                    <a:pt x="1898" y="9"/>
                  </a:cubicBezTo>
                  <a:cubicBezTo>
                    <a:pt x="1936" y="5"/>
                    <a:pt x="1974" y="2"/>
                    <a:pt x="2012" y="1"/>
                  </a:cubicBezTo>
                  <a:cubicBezTo>
                    <a:pt x="2021" y="0"/>
                    <a:pt x="2031" y="0"/>
                    <a:pt x="2040" y="0"/>
                  </a:cubicBezTo>
                  <a:cubicBezTo>
                    <a:pt x="2069" y="0"/>
                    <a:pt x="2069" y="0"/>
                    <a:pt x="2069" y="0"/>
                  </a:cubicBezTo>
                  <a:cubicBezTo>
                    <a:pt x="2097" y="0"/>
                    <a:pt x="2097" y="0"/>
                    <a:pt x="2097" y="0"/>
                  </a:cubicBezTo>
                  <a:cubicBezTo>
                    <a:pt x="2107" y="0"/>
                    <a:pt x="2116" y="0"/>
                    <a:pt x="2126" y="0"/>
                  </a:cubicBezTo>
                  <a:cubicBezTo>
                    <a:pt x="2164" y="1"/>
                    <a:pt x="2202" y="3"/>
                    <a:pt x="2240" y="6"/>
                  </a:cubicBezTo>
                  <a:cubicBezTo>
                    <a:pt x="2315" y="11"/>
                    <a:pt x="2391" y="18"/>
                    <a:pt x="2467" y="26"/>
                  </a:cubicBezTo>
                  <a:cubicBezTo>
                    <a:pt x="2693" y="52"/>
                    <a:pt x="2693" y="52"/>
                    <a:pt x="2693" y="52"/>
                  </a:cubicBezTo>
                  <a:cubicBezTo>
                    <a:pt x="2768" y="61"/>
                    <a:pt x="2844" y="71"/>
                    <a:pt x="2919" y="83"/>
                  </a:cubicBezTo>
                  <a:cubicBezTo>
                    <a:pt x="2937" y="86"/>
                    <a:pt x="2956" y="89"/>
                    <a:pt x="2975" y="92"/>
                  </a:cubicBezTo>
                  <a:cubicBezTo>
                    <a:pt x="2984" y="94"/>
                    <a:pt x="2994" y="96"/>
                    <a:pt x="3003" y="97"/>
                  </a:cubicBezTo>
                  <a:cubicBezTo>
                    <a:pt x="3017" y="100"/>
                    <a:pt x="3017" y="100"/>
                    <a:pt x="3017" y="100"/>
                  </a:cubicBezTo>
                  <a:cubicBezTo>
                    <a:pt x="3018" y="100"/>
                    <a:pt x="3019" y="100"/>
                    <a:pt x="3021" y="101"/>
                  </a:cubicBezTo>
                  <a:cubicBezTo>
                    <a:pt x="3024" y="102"/>
                    <a:pt x="3024" y="102"/>
                    <a:pt x="3024" y="102"/>
                  </a:cubicBezTo>
                  <a:cubicBezTo>
                    <a:pt x="3031" y="103"/>
                    <a:pt x="3031" y="103"/>
                    <a:pt x="3031" y="103"/>
                  </a:cubicBezTo>
                  <a:cubicBezTo>
                    <a:pt x="3086" y="118"/>
                    <a:pt x="3086" y="118"/>
                    <a:pt x="3086" y="118"/>
                  </a:cubicBezTo>
                  <a:cubicBezTo>
                    <a:pt x="3104" y="122"/>
                    <a:pt x="3123" y="127"/>
                    <a:pt x="3141" y="132"/>
                  </a:cubicBezTo>
                  <a:cubicBezTo>
                    <a:pt x="3178" y="142"/>
                    <a:pt x="3214" y="152"/>
                    <a:pt x="3250" y="166"/>
                  </a:cubicBezTo>
                  <a:cubicBezTo>
                    <a:pt x="3286" y="179"/>
                    <a:pt x="3321" y="195"/>
                    <a:pt x="3354" y="215"/>
                  </a:cubicBezTo>
                  <a:cubicBezTo>
                    <a:pt x="3386" y="235"/>
                    <a:pt x="3416" y="260"/>
                    <a:pt x="3440" y="291"/>
                  </a:cubicBezTo>
                  <a:cubicBezTo>
                    <a:pt x="3463" y="321"/>
                    <a:pt x="3479" y="358"/>
                    <a:pt x="3485" y="396"/>
                  </a:cubicBezTo>
                  <a:cubicBezTo>
                    <a:pt x="3486" y="396"/>
                    <a:pt x="3486" y="396"/>
                    <a:pt x="3486" y="396"/>
                  </a:cubicBezTo>
                  <a:cubicBezTo>
                    <a:pt x="3486" y="396"/>
                    <a:pt x="3486" y="396"/>
                    <a:pt x="3486" y="396"/>
                  </a:cubicBezTo>
                  <a:cubicBezTo>
                    <a:pt x="3486" y="420"/>
                    <a:pt x="3481" y="443"/>
                    <a:pt x="3474" y="465"/>
                  </a:cubicBezTo>
                  <a:cubicBezTo>
                    <a:pt x="3473" y="467"/>
                    <a:pt x="3472" y="470"/>
                    <a:pt x="3470" y="473"/>
                  </a:cubicBezTo>
                  <a:cubicBezTo>
                    <a:pt x="3467" y="481"/>
                    <a:pt x="3467" y="481"/>
                    <a:pt x="3467" y="481"/>
                  </a:cubicBezTo>
                  <a:cubicBezTo>
                    <a:pt x="3466" y="483"/>
                    <a:pt x="3464" y="486"/>
                    <a:pt x="3463" y="489"/>
                  </a:cubicBezTo>
                  <a:cubicBezTo>
                    <a:pt x="3462" y="491"/>
                    <a:pt x="3461" y="494"/>
                    <a:pt x="3459" y="496"/>
                  </a:cubicBezTo>
                  <a:cubicBezTo>
                    <a:pt x="3453" y="507"/>
                    <a:pt x="3446" y="516"/>
                    <a:pt x="3439" y="525"/>
                  </a:cubicBezTo>
                  <a:cubicBezTo>
                    <a:pt x="3424" y="543"/>
                    <a:pt x="3407" y="558"/>
                    <a:pt x="3388" y="572"/>
                  </a:cubicBezTo>
                  <a:cubicBezTo>
                    <a:pt x="3370" y="586"/>
                    <a:pt x="3350" y="597"/>
                    <a:pt x="3329" y="608"/>
                  </a:cubicBezTo>
                  <a:cubicBezTo>
                    <a:pt x="3288" y="628"/>
                    <a:pt x="3245" y="644"/>
                    <a:pt x="3202" y="657"/>
                  </a:cubicBezTo>
                  <a:cubicBezTo>
                    <a:pt x="3180" y="664"/>
                    <a:pt x="3158" y="670"/>
                    <a:pt x="3136" y="676"/>
                  </a:cubicBezTo>
                  <a:cubicBezTo>
                    <a:pt x="3113" y="681"/>
                    <a:pt x="3091" y="687"/>
                    <a:pt x="3069" y="692"/>
                  </a:cubicBezTo>
                  <a:cubicBezTo>
                    <a:pt x="3025" y="703"/>
                    <a:pt x="2981" y="714"/>
                    <a:pt x="2937" y="726"/>
                  </a:cubicBezTo>
                  <a:cubicBezTo>
                    <a:pt x="2894" y="739"/>
                    <a:pt x="2850" y="753"/>
                    <a:pt x="2808" y="770"/>
                  </a:cubicBezTo>
                  <a:cubicBezTo>
                    <a:pt x="2788" y="779"/>
                    <a:pt x="2767" y="788"/>
                    <a:pt x="2748" y="800"/>
                  </a:cubicBezTo>
                  <a:cubicBezTo>
                    <a:pt x="2738" y="805"/>
                    <a:pt x="2728" y="811"/>
                    <a:pt x="2719" y="818"/>
                  </a:cubicBezTo>
                  <a:cubicBezTo>
                    <a:pt x="2710" y="825"/>
                    <a:pt x="2702" y="832"/>
                    <a:pt x="2694" y="840"/>
                  </a:cubicBezTo>
                  <a:cubicBezTo>
                    <a:pt x="2686" y="847"/>
                    <a:pt x="2679" y="856"/>
                    <a:pt x="2674" y="865"/>
                  </a:cubicBezTo>
                  <a:cubicBezTo>
                    <a:pt x="2670" y="873"/>
                    <a:pt x="2670" y="873"/>
                    <a:pt x="2670" y="873"/>
                  </a:cubicBezTo>
                  <a:cubicBezTo>
                    <a:pt x="2668" y="875"/>
                    <a:pt x="2667" y="878"/>
                    <a:pt x="2666" y="880"/>
                  </a:cubicBezTo>
                  <a:cubicBezTo>
                    <a:pt x="2664" y="885"/>
                    <a:pt x="2662" y="890"/>
                    <a:pt x="2661" y="895"/>
                  </a:cubicBezTo>
                  <a:cubicBezTo>
                    <a:pt x="2655" y="916"/>
                    <a:pt x="2653" y="939"/>
                    <a:pt x="2659" y="960"/>
                  </a:cubicBezTo>
                  <a:cubicBezTo>
                    <a:pt x="2663" y="982"/>
                    <a:pt x="2673" y="1002"/>
                    <a:pt x="2687" y="1019"/>
                  </a:cubicBezTo>
                  <a:cubicBezTo>
                    <a:pt x="2689" y="1021"/>
                    <a:pt x="2691" y="1023"/>
                    <a:pt x="2693" y="1025"/>
                  </a:cubicBezTo>
                  <a:cubicBezTo>
                    <a:pt x="2695" y="1027"/>
                    <a:pt x="2696" y="1029"/>
                    <a:pt x="2698" y="1031"/>
                  </a:cubicBezTo>
                  <a:cubicBezTo>
                    <a:pt x="2704" y="1036"/>
                    <a:pt x="2704" y="1036"/>
                    <a:pt x="2704" y="1036"/>
                  </a:cubicBezTo>
                  <a:cubicBezTo>
                    <a:pt x="2707" y="1039"/>
                    <a:pt x="2707" y="1039"/>
                    <a:pt x="2707" y="1039"/>
                  </a:cubicBezTo>
                  <a:cubicBezTo>
                    <a:pt x="2711" y="1042"/>
                    <a:pt x="2711" y="1042"/>
                    <a:pt x="2711" y="1042"/>
                  </a:cubicBezTo>
                  <a:cubicBezTo>
                    <a:pt x="2713" y="1043"/>
                    <a:pt x="2715" y="1045"/>
                    <a:pt x="2717" y="1047"/>
                  </a:cubicBezTo>
                  <a:cubicBezTo>
                    <a:pt x="2724" y="1051"/>
                    <a:pt x="2724" y="1051"/>
                    <a:pt x="2724" y="1051"/>
                  </a:cubicBezTo>
                  <a:cubicBezTo>
                    <a:pt x="2726" y="1053"/>
                    <a:pt x="2729" y="1054"/>
                    <a:pt x="2731" y="1056"/>
                  </a:cubicBezTo>
                  <a:cubicBezTo>
                    <a:pt x="2734" y="1057"/>
                    <a:pt x="2736" y="1059"/>
                    <a:pt x="2738" y="1060"/>
                  </a:cubicBezTo>
                  <a:cubicBezTo>
                    <a:pt x="2758" y="1071"/>
                    <a:pt x="2779" y="1080"/>
                    <a:pt x="2800" y="1087"/>
                  </a:cubicBezTo>
                  <a:cubicBezTo>
                    <a:pt x="2821" y="1094"/>
                    <a:pt x="2843" y="1099"/>
                    <a:pt x="2865" y="1104"/>
                  </a:cubicBezTo>
                  <a:cubicBezTo>
                    <a:pt x="2910" y="1112"/>
                    <a:pt x="2955" y="1117"/>
                    <a:pt x="3000" y="1121"/>
                  </a:cubicBezTo>
                  <a:cubicBezTo>
                    <a:pt x="3045" y="1124"/>
                    <a:pt x="3091" y="1125"/>
                    <a:pt x="3136" y="1126"/>
                  </a:cubicBezTo>
                  <a:cubicBezTo>
                    <a:pt x="3182" y="1126"/>
                    <a:pt x="3227" y="1126"/>
                    <a:pt x="3273" y="1126"/>
                  </a:cubicBezTo>
                  <a:cubicBezTo>
                    <a:pt x="3295" y="1126"/>
                    <a:pt x="3318" y="1126"/>
                    <a:pt x="3341" y="1126"/>
                  </a:cubicBezTo>
                  <a:cubicBezTo>
                    <a:pt x="3350" y="1126"/>
                    <a:pt x="3350" y="1126"/>
                    <a:pt x="3350" y="1126"/>
                  </a:cubicBezTo>
                  <a:cubicBezTo>
                    <a:pt x="3352" y="1126"/>
                    <a:pt x="3352" y="1126"/>
                    <a:pt x="3352" y="1126"/>
                  </a:cubicBezTo>
                  <a:cubicBezTo>
                    <a:pt x="3354" y="1126"/>
                    <a:pt x="3354" y="1126"/>
                    <a:pt x="3354" y="1126"/>
                  </a:cubicBezTo>
                  <a:cubicBezTo>
                    <a:pt x="3358" y="1126"/>
                    <a:pt x="3358" y="1126"/>
                    <a:pt x="3358" y="1126"/>
                  </a:cubicBezTo>
                  <a:cubicBezTo>
                    <a:pt x="3375" y="1125"/>
                    <a:pt x="3375" y="1125"/>
                    <a:pt x="3375" y="1125"/>
                  </a:cubicBezTo>
                  <a:cubicBezTo>
                    <a:pt x="3409" y="1125"/>
                    <a:pt x="3409" y="1125"/>
                    <a:pt x="3409" y="1125"/>
                  </a:cubicBezTo>
                  <a:cubicBezTo>
                    <a:pt x="3682" y="1120"/>
                    <a:pt x="3682" y="1120"/>
                    <a:pt x="3682" y="1120"/>
                  </a:cubicBezTo>
                  <a:cubicBezTo>
                    <a:pt x="3728" y="1119"/>
                    <a:pt x="3774" y="1120"/>
                    <a:pt x="3819" y="1123"/>
                  </a:cubicBezTo>
                  <a:cubicBezTo>
                    <a:pt x="3865" y="1125"/>
                    <a:pt x="3911" y="1129"/>
                    <a:pt x="3956" y="1134"/>
                  </a:cubicBezTo>
                  <a:cubicBezTo>
                    <a:pt x="4047" y="1144"/>
                    <a:pt x="4137" y="1160"/>
                    <a:pt x="4226" y="1182"/>
                  </a:cubicBezTo>
                  <a:cubicBezTo>
                    <a:pt x="4315" y="1203"/>
                    <a:pt x="4402" y="1230"/>
                    <a:pt x="4487" y="1263"/>
                  </a:cubicBezTo>
                  <a:cubicBezTo>
                    <a:pt x="4573" y="1296"/>
                    <a:pt x="4656" y="1335"/>
                    <a:pt x="4735" y="1380"/>
                  </a:cubicBezTo>
                  <a:cubicBezTo>
                    <a:pt x="4775" y="1403"/>
                    <a:pt x="4814" y="1427"/>
                    <a:pt x="4852" y="1453"/>
                  </a:cubicBezTo>
                  <a:cubicBezTo>
                    <a:pt x="4889" y="1479"/>
                    <a:pt x="4926" y="1506"/>
                    <a:pt x="4961" y="1535"/>
                  </a:cubicBezTo>
                  <a:cubicBezTo>
                    <a:pt x="4997" y="1564"/>
                    <a:pt x="5031" y="1595"/>
                    <a:pt x="5063" y="1628"/>
                  </a:cubicBezTo>
                  <a:cubicBezTo>
                    <a:pt x="5095" y="1660"/>
                    <a:pt x="5126" y="1694"/>
                    <a:pt x="5155" y="1730"/>
                  </a:cubicBezTo>
                  <a:cubicBezTo>
                    <a:pt x="5162" y="1739"/>
                    <a:pt x="5169" y="1748"/>
                    <a:pt x="5176" y="1757"/>
                  </a:cubicBezTo>
                  <a:cubicBezTo>
                    <a:pt x="5183" y="1766"/>
                    <a:pt x="5190" y="1775"/>
                    <a:pt x="5196" y="1785"/>
                  </a:cubicBezTo>
                  <a:cubicBezTo>
                    <a:pt x="5203" y="1794"/>
                    <a:pt x="5210" y="1803"/>
                    <a:pt x="5216" y="1813"/>
                  </a:cubicBezTo>
                  <a:cubicBezTo>
                    <a:pt x="5223" y="1822"/>
                    <a:pt x="5229" y="1832"/>
                    <a:pt x="5235" y="1842"/>
                  </a:cubicBezTo>
                  <a:cubicBezTo>
                    <a:pt x="5259" y="1881"/>
                    <a:pt x="5281" y="1921"/>
                    <a:pt x="5301" y="1963"/>
                  </a:cubicBezTo>
                  <a:cubicBezTo>
                    <a:pt x="5320" y="2004"/>
                    <a:pt x="5336" y="2047"/>
                    <a:pt x="5350" y="2091"/>
                  </a:cubicBezTo>
                  <a:cubicBezTo>
                    <a:pt x="5364" y="2135"/>
                    <a:pt x="5374" y="2180"/>
                    <a:pt x="5383" y="2225"/>
                  </a:cubicBezTo>
                  <a:cubicBezTo>
                    <a:pt x="5383" y="2226"/>
                    <a:pt x="5383" y="2226"/>
                    <a:pt x="5383" y="2226"/>
                  </a:cubicBezTo>
                  <a:cubicBezTo>
                    <a:pt x="5383" y="2228"/>
                    <a:pt x="5383" y="2228"/>
                    <a:pt x="5383" y="2228"/>
                  </a:cubicBezTo>
                  <a:cubicBezTo>
                    <a:pt x="5364" y="2369"/>
                    <a:pt x="5364" y="2369"/>
                    <a:pt x="5364" y="2369"/>
                  </a:cubicBezTo>
                  <a:cubicBezTo>
                    <a:pt x="5355" y="2440"/>
                    <a:pt x="5355" y="2440"/>
                    <a:pt x="5355" y="2440"/>
                  </a:cubicBezTo>
                  <a:cubicBezTo>
                    <a:pt x="5354" y="2449"/>
                    <a:pt x="5354" y="2449"/>
                    <a:pt x="5354" y="2449"/>
                  </a:cubicBezTo>
                  <a:cubicBezTo>
                    <a:pt x="5353" y="2458"/>
                    <a:pt x="5353" y="2458"/>
                    <a:pt x="5353" y="2458"/>
                  </a:cubicBezTo>
                  <a:cubicBezTo>
                    <a:pt x="5351" y="2475"/>
                    <a:pt x="5351" y="2475"/>
                    <a:pt x="5351" y="2475"/>
                  </a:cubicBezTo>
                  <a:cubicBezTo>
                    <a:pt x="5347" y="2511"/>
                    <a:pt x="5347" y="2511"/>
                    <a:pt x="5347" y="2511"/>
                  </a:cubicBezTo>
                  <a:cubicBezTo>
                    <a:pt x="5347" y="2512"/>
                    <a:pt x="5347" y="2512"/>
                    <a:pt x="5347" y="2512"/>
                  </a:cubicBezTo>
                  <a:cubicBezTo>
                    <a:pt x="5347" y="2512"/>
                    <a:pt x="5347" y="2512"/>
                    <a:pt x="5347" y="2512"/>
                  </a:cubicBezTo>
                  <a:cubicBezTo>
                    <a:pt x="5343" y="2526"/>
                    <a:pt x="5343" y="2540"/>
                    <a:pt x="5343" y="2555"/>
                  </a:cubicBezTo>
                  <a:cubicBezTo>
                    <a:pt x="5343" y="2562"/>
                    <a:pt x="5343" y="2569"/>
                    <a:pt x="5344" y="2577"/>
                  </a:cubicBezTo>
                  <a:cubicBezTo>
                    <a:pt x="5344" y="2581"/>
                    <a:pt x="5344" y="2585"/>
                    <a:pt x="5344" y="2589"/>
                  </a:cubicBezTo>
                  <a:cubicBezTo>
                    <a:pt x="5344" y="2591"/>
                    <a:pt x="5344" y="2593"/>
                    <a:pt x="5344" y="2595"/>
                  </a:cubicBezTo>
                  <a:cubicBezTo>
                    <a:pt x="5344" y="2597"/>
                    <a:pt x="5344" y="2599"/>
                    <a:pt x="5344" y="2601"/>
                  </a:cubicBezTo>
                  <a:cubicBezTo>
                    <a:pt x="5344" y="2599"/>
                    <a:pt x="5344" y="2599"/>
                    <a:pt x="5344" y="2599"/>
                  </a:cubicBezTo>
                  <a:cubicBezTo>
                    <a:pt x="5345" y="2610"/>
                    <a:pt x="5345" y="2610"/>
                    <a:pt x="5345" y="2610"/>
                  </a:cubicBezTo>
                  <a:cubicBezTo>
                    <a:pt x="5345" y="2620"/>
                    <a:pt x="5345" y="2620"/>
                    <a:pt x="5345" y="2620"/>
                  </a:cubicBezTo>
                  <a:cubicBezTo>
                    <a:pt x="5346" y="2627"/>
                    <a:pt x="5347" y="2634"/>
                    <a:pt x="5348" y="2641"/>
                  </a:cubicBezTo>
                  <a:cubicBezTo>
                    <a:pt x="5350" y="2655"/>
                    <a:pt x="5352" y="2669"/>
                    <a:pt x="5355" y="2683"/>
                  </a:cubicBezTo>
                  <a:cubicBezTo>
                    <a:pt x="5360" y="2710"/>
                    <a:pt x="5367" y="2738"/>
                    <a:pt x="5373" y="2766"/>
                  </a:cubicBezTo>
                  <a:cubicBezTo>
                    <a:pt x="5376" y="2780"/>
                    <a:pt x="5379" y="2794"/>
                    <a:pt x="5382" y="2808"/>
                  </a:cubicBezTo>
                  <a:cubicBezTo>
                    <a:pt x="5383" y="2815"/>
                    <a:pt x="5384" y="2822"/>
                    <a:pt x="5386" y="2829"/>
                  </a:cubicBezTo>
                  <a:cubicBezTo>
                    <a:pt x="5387" y="2836"/>
                    <a:pt x="5388" y="2844"/>
                    <a:pt x="5388" y="2851"/>
                  </a:cubicBezTo>
                  <a:cubicBezTo>
                    <a:pt x="5389" y="2854"/>
                    <a:pt x="5389" y="2858"/>
                    <a:pt x="5389" y="2862"/>
                  </a:cubicBezTo>
                  <a:cubicBezTo>
                    <a:pt x="5390" y="2865"/>
                    <a:pt x="5390" y="2869"/>
                    <a:pt x="5390" y="2873"/>
                  </a:cubicBezTo>
                  <a:cubicBezTo>
                    <a:pt x="5391" y="2880"/>
                    <a:pt x="5391" y="2887"/>
                    <a:pt x="5391" y="2895"/>
                  </a:cubicBezTo>
                  <a:cubicBezTo>
                    <a:pt x="5390" y="2902"/>
                    <a:pt x="5390" y="2909"/>
                    <a:pt x="5389" y="2917"/>
                  </a:cubicBezTo>
                  <a:cubicBezTo>
                    <a:pt x="5388" y="2928"/>
                    <a:pt x="5388" y="2928"/>
                    <a:pt x="5388" y="2928"/>
                  </a:cubicBezTo>
                  <a:cubicBezTo>
                    <a:pt x="5386" y="2939"/>
                    <a:pt x="5386" y="2939"/>
                    <a:pt x="5386" y="2939"/>
                  </a:cubicBezTo>
                  <a:cubicBezTo>
                    <a:pt x="5384" y="2951"/>
                    <a:pt x="5384" y="2951"/>
                    <a:pt x="5384" y="2951"/>
                  </a:cubicBezTo>
                  <a:cubicBezTo>
                    <a:pt x="5372" y="2946"/>
                    <a:pt x="5372" y="2946"/>
                    <a:pt x="5372" y="2946"/>
                  </a:cubicBezTo>
                  <a:cubicBezTo>
                    <a:pt x="5342" y="2934"/>
                    <a:pt x="5342" y="2934"/>
                    <a:pt x="5342" y="2934"/>
                  </a:cubicBezTo>
                  <a:cubicBezTo>
                    <a:pt x="5350" y="2915"/>
                    <a:pt x="5350" y="2915"/>
                    <a:pt x="5350" y="2915"/>
                  </a:cubicBezTo>
                  <a:cubicBezTo>
                    <a:pt x="5380" y="2928"/>
                    <a:pt x="5380" y="2928"/>
                    <a:pt x="5380" y="2928"/>
                  </a:cubicBezTo>
                  <a:cubicBezTo>
                    <a:pt x="5366" y="2935"/>
                    <a:pt x="5366" y="2935"/>
                    <a:pt x="5366" y="2935"/>
                  </a:cubicBezTo>
                  <a:cubicBezTo>
                    <a:pt x="5368" y="2925"/>
                    <a:pt x="5368" y="2925"/>
                    <a:pt x="5368" y="2925"/>
                  </a:cubicBezTo>
                  <a:cubicBezTo>
                    <a:pt x="5370" y="2915"/>
                    <a:pt x="5370" y="2915"/>
                    <a:pt x="5370" y="2915"/>
                  </a:cubicBezTo>
                  <a:cubicBezTo>
                    <a:pt x="5370" y="2908"/>
                    <a:pt x="5371" y="2901"/>
                    <a:pt x="5371" y="2894"/>
                  </a:cubicBezTo>
                  <a:cubicBezTo>
                    <a:pt x="5371" y="2887"/>
                    <a:pt x="5371" y="2881"/>
                    <a:pt x="5370" y="2874"/>
                  </a:cubicBezTo>
                  <a:cubicBezTo>
                    <a:pt x="5370" y="2870"/>
                    <a:pt x="5370" y="2867"/>
                    <a:pt x="5370" y="2863"/>
                  </a:cubicBezTo>
                  <a:cubicBezTo>
                    <a:pt x="5369" y="2860"/>
                    <a:pt x="5369" y="2856"/>
                    <a:pt x="5369" y="2853"/>
                  </a:cubicBezTo>
                  <a:cubicBezTo>
                    <a:pt x="5368" y="2846"/>
                    <a:pt x="5367" y="2839"/>
                    <a:pt x="5366" y="2832"/>
                  </a:cubicBezTo>
                  <a:cubicBezTo>
                    <a:pt x="5365" y="2825"/>
                    <a:pt x="5364" y="2818"/>
                    <a:pt x="5363" y="2812"/>
                  </a:cubicBezTo>
                  <a:cubicBezTo>
                    <a:pt x="5360" y="2798"/>
                    <a:pt x="5357" y="2784"/>
                    <a:pt x="5354" y="2770"/>
                  </a:cubicBezTo>
                  <a:cubicBezTo>
                    <a:pt x="5348" y="2742"/>
                    <a:pt x="5342" y="2715"/>
                    <a:pt x="5336" y="2686"/>
                  </a:cubicBezTo>
                  <a:cubicBezTo>
                    <a:pt x="5333" y="2672"/>
                    <a:pt x="5331" y="2658"/>
                    <a:pt x="5329" y="2644"/>
                  </a:cubicBezTo>
                  <a:cubicBezTo>
                    <a:pt x="5328" y="2637"/>
                    <a:pt x="5327" y="2629"/>
                    <a:pt x="5326" y="2622"/>
                  </a:cubicBezTo>
                  <a:cubicBezTo>
                    <a:pt x="5325" y="2611"/>
                    <a:pt x="5325" y="2611"/>
                    <a:pt x="5325" y="2611"/>
                  </a:cubicBezTo>
                  <a:cubicBezTo>
                    <a:pt x="5325" y="2601"/>
                    <a:pt x="5325" y="2601"/>
                    <a:pt x="5325" y="2601"/>
                  </a:cubicBezTo>
                  <a:cubicBezTo>
                    <a:pt x="5325" y="2600"/>
                    <a:pt x="5325" y="2600"/>
                    <a:pt x="5325" y="2600"/>
                  </a:cubicBezTo>
                  <a:cubicBezTo>
                    <a:pt x="5325" y="2599"/>
                    <a:pt x="5325" y="2599"/>
                    <a:pt x="5325" y="2599"/>
                  </a:cubicBezTo>
                  <a:cubicBezTo>
                    <a:pt x="5325" y="2597"/>
                    <a:pt x="5325" y="2596"/>
                    <a:pt x="5325" y="2594"/>
                  </a:cubicBezTo>
                  <a:cubicBezTo>
                    <a:pt x="5325" y="2592"/>
                    <a:pt x="5325" y="2591"/>
                    <a:pt x="5325" y="2589"/>
                  </a:cubicBezTo>
                  <a:cubicBezTo>
                    <a:pt x="5325" y="2585"/>
                    <a:pt x="5325" y="2582"/>
                    <a:pt x="5325" y="2578"/>
                  </a:cubicBezTo>
                  <a:cubicBezTo>
                    <a:pt x="5324" y="2570"/>
                    <a:pt x="5324" y="2563"/>
                    <a:pt x="5324" y="2555"/>
                  </a:cubicBezTo>
                  <a:cubicBezTo>
                    <a:pt x="5324" y="2540"/>
                    <a:pt x="5324" y="2524"/>
                    <a:pt x="5328" y="2508"/>
                  </a:cubicBezTo>
                  <a:cubicBezTo>
                    <a:pt x="5328" y="2509"/>
                    <a:pt x="5328" y="2509"/>
                    <a:pt x="5328" y="2509"/>
                  </a:cubicBezTo>
                  <a:cubicBezTo>
                    <a:pt x="5332" y="2473"/>
                    <a:pt x="5332" y="2473"/>
                    <a:pt x="5332" y="2473"/>
                  </a:cubicBezTo>
                  <a:cubicBezTo>
                    <a:pt x="5334" y="2456"/>
                    <a:pt x="5334" y="2456"/>
                    <a:pt x="5334" y="2456"/>
                  </a:cubicBezTo>
                  <a:cubicBezTo>
                    <a:pt x="5335" y="2447"/>
                    <a:pt x="5335" y="2447"/>
                    <a:pt x="5335" y="2447"/>
                  </a:cubicBezTo>
                  <a:cubicBezTo>
                    <a:pt x="5336" y="2438"/>
                    <a:pt x="5336" y="2438"/>
                    <a:pt x="5336" y="2438"/>
                  </a:cubicBezTo>
                  <a:cubicBezTo>
                    <a:pt x="5346" y="2367"/>
                    <a:pt x="5346" y="2367"/>
                    <a:pt x="5346" y="2367"/>
                  </a:cubicBezTo>
                  <a:cubicBezTo>
                    <a:pt x="5365" y="2225"/>
                    <a:pt x="5365" y="2225"/>
                    <a:pt x="5365" y="2225"/>
                  </a:cubicBezTo>
                  <a:cubicBezTo>
                    <a:pt x="5365" y="2228"/>
                    <a:pt x="5365" y="2228"/>
                    <a:pt x="5365" y="2228"/>
                  </a:cubicBezTo>
                  <a:cubicBezTo>
                    <a:pt x="5356" y="2184"/>
                    <a:pt x="5346" y="2139"/>
                    <a:pt x="5333" y="2096"/>
                  </a:cubicBezTo>
                  <a:cubicBezTo>
                    <a:pt x="5320" y="2053"/>
                    <a:pt x="5304" y="2011"/>
                    <a:pt x="5285" y="1970"/>
                  </a:cubicBezTo>
                  <a:cubicBezTo>
                    <a:pt x="5266" y="1929"/>
                    <a:pt x="5244" y="1889"/>
                    <a:pt x="5220" y="1851"/>
                  </a:cubicBezTo>
                  <a:cubicBezTo>
                    <a:pt x="5214" y="1841"/>
                    <a:pt x="5208" y="1832"/>
                    <a:pt x="5202" y="1823"/>
                  </a:cubicBezTo>
                  <a:cubicBezTo>
                    <a:pt x="5195" y="1813"/>
                    <a:pt x="5189" y="1804"/>
                    <a:pt x="5182" y="1795"/>
                  </a:cubicBezTo>
                  <a:cubicBezTo>
                    <a:pt x="5176" y="1785"/>
                    <a:pt x="5169" y="1776"/>
                    <a:pt x="5162" y="1767"/>
                  </a:cubicBezTo>
                  <a:cubicBezTo>
                    <a:pt x="5156" y="1758"/>
                    <a:pt x="5149" y="1749"/>
                    <a:pt x="5142" y="1741"/>
                  </a:cubicBezTo>
                  <a:cubicBezTo>
                    <a:pt x="5113" y="1705"/>
                    <a:pt x="5083" y="1672"/>
                    <a:pt x="5051" y="1639"/>
                  </a:cubicBezTo>
                  <a:cubicBezTo>
                    <a:pt x="5019" y="1607"/>
                    <a:pt x="4986" y="1577"/>
                    <a:pt x="4951" y="1548"/>
                  </a:cubicBezTo>
                  <a:cubicBezTo>
                    <a:pt x="4916" y="1519"/>
                    <a:pt x="4880" y="1492"/>
                    <a:pt x="4843" y="1466"/>
                  </a:cubicBezTo>
                  <a:cubicBezTo>
                    <a:pt x="4805" y="1440"/>
                    <a:pt x="4767" y="1416"/>
                    <a:pt x="4727" y="1394"/>
                  </a:cubicBezTo>
                  <a:cubicBezTo>
                    <a:pt x="4649" y="1349"/>
                    <a:pt x="4566" y="1310"/>
                    <a:pt x="4482" y="1277"/>
                  </a:cubicBezTo>
                  <a:cubicBezTo>
                    <a:pt x="4397" y="1244"/>
                    <a:pt x="4310" y="1217"/>
                    <a:pt x="4222" y="1196"/>
                  </a:cubicBezTo>
                  <a:cubicBezTo>
                    <a:pt x="4134" y="1174"/>
                    <a:pt x="4045" y="1158"/>
                    <a:pt x="3954" y="1148"/>
                  </a:cubicBezTo>
                  <a:cubicBezTo>
                    <a:pt x="3909" y="1143"/>
                    <a:pt x="3864" y="1139"/>
                    <a:pt x="3819" y="1136"/>
                  </a:cubicBezTo>
                  <a:cubicBezTo>
                    <a:pt x="3773" y="1134"/>
                    <a:pt x="3728" y="1133"/>
                    <a:pt x="3683" y="1133"/>
                  </a:cubicBezTo>
                  <a:cubicBezTo>
                    <a:pt x="3409" y="1137"/>
                    <a:pt x="3409" y="1137"/>
                    <a:pt x="3409" y="1137"/>
                  </a:cubicBezTo>
                  <a:cubicBezTo>
                    <a:pt x="3375" y="1138"/>
                    <a:pt x="3375" y="1138"/>
                    <a:pt x="3375" y="1138"/>
                  </a:cubicBezTo>
                  <a:cubicBezTo>
                    <a:pt x="3358" y="1138"/>
                    <a:pt x="3358" y="1138"/>
                    <a:pt x="3358" y="1138"/>
                  </a:cubicBezTo>
                  <a:cubicBezTo>
                    <a:pt x="3354" y="1138"/>
                    <a:pt x="3354" y="1138"/>
                    <a:pt x="3354" y="1138"/>
                  </a:cubicBezTo>
                  <a:cubicBezTo>
                    <a:pt x="3352" y="1138"/>
                    <a:pt x="3352" y="1138"/>
                    <a:pt x="3352" y="1138"/>
                  </a:cubicBezTo>
                  <a:cubicBezTo>
                    <a:pt x="3350" y="1138"/>
                    <a:pt x="3350" y="1138"/>
                    <a:pt x="3350" y="1138"/>
                  </a:cubicBezTo>
                  <a:cubicBezTo>
                    <a:pt x="3341" y="1138"/>
                    <a:pt x="3341" y="1138"/>
                    <a:pt x="3341" y="1138"/>
                  </a:cubicBezTo>
                  <a:cubicBezTo>
                    <a:pt x="3318" y="1138"/>
                    <a:pt x="3296" y="1138"/>
                    <a:pt x="3273" y="1138"/>
                  </a:cubicBezTo>
                  <a:cubicBezTo>
                    <a:pt x="3227" y="1138"/>
                    <a:pt x="3182" y="1139"/>
                    <a:pt x="3136" y="1138"/>
                  </a:cubicBezTo>
                  <a:cubicBezTo>
                    <a:pt x="3090" y="1137"/>
                    <a:pt x="3045" y="1136"/>
                    <a:pt x="2999" y="1132"/>
                  </a:cubicBezTo>
                  <a:cubicBezTo>
                    <a:pt x="2954" y="1129"/>
                    <a:pt x="2908" y="1124"/>
                    <a:pt x="2863" y="1115"/>
                  </a:cubicBezTo>
                  <a:cubicBezTo>
                    <a:pt x="2841" y="1110"/>
                    <a:pt x="2818" y="1105"/>
                    <a:pt x="2796" y="1097"/>
                  </a:cubicBezTo>
                  <a:cubicBezTo>
                    <a:pt x="2774" y="1090"/>
                    <a:pt x="2753" y="1081"/>
                    <a:pt x="2733" y="1070"/>
                  </a:cubicBezTo>
                  <a:cubicBezTo>
                    <a:pt x="2730" y="1068"/>
                    <a:pt x="2728" y="1067"/>
                    <a:pt x="2725" y="1065"/>
                  </a:cubicBezTo>
                  <a:cubicBezTo>
                    <a:pt x="2723" y="1064"/>
                    <a:pt x="2720" y="1062"/>
                    <a:pt x="2718" y="1061"/>
                  </a:cubicBezTo>
                  <a:cubicBezTo>
                    <a:pt x="2711" y="1055"/>
                    <a:pt x="2711" y="1055"/>
                    <a:pt x="2711" y="1055"/>
                  </a:cubicBezTo>
                  <a:cubicBezTo>
                    <a:pt x="2708" y="1054"/>
                    <a:pt x="2706" y="1052"/>
                    <a:pt x="2704" y="1050"/>
                  </a:cubicBezTo>
                  <a:cubicBezTo>
                    <a:pt x="2701" y="1048"/>
                    <a:pt x="2701" y="1048"/>
                    <a:pt x="2701" y="1048"/>
                  </a:cubicBezTo>
                  <a:cubicBezTo>
                    <a:pt x="2697" y="1045"/>
                    <a:pt x="2697" y="1045"/>
                    <a:pt x="2697" y="1045"/>
                  </a:cubicBezTo>
                  <a:cubicBezTo>
                    <a:pt x="2691" y="1039"/>
                    <a:pt x="2691" y="1039"/>
                    <a:pt x="2691" y="1039"/>
                  </a:cubicBezTo>
                  <a:cubicBezTo>
                    <a:pt x="2688" y="1037"/>
                    <a:pt x="2687" y="1034"/>
                    <a:pt x="2685" y="1032"/>
                  </a:cubicBezTo>
                  <a:cubicBezTo>
                    <a:pt x="2683" y="1030"/>
                    <a:pt x="2680" y="1028"/>
                    <a:pt x="2679" y="1025"/>
                  </a:cubicBezTo>
                  <a:cubicBezTo>
                    <a:pt x="2664" y="1007"/>
                    <a:pt x="2653" y="986"/>
                    <a:pt x="2648" y="962"/>
                  </a:cubicBezTo>
                  <a:cubicBezTo>
                    <a:pt x="2643" y="939"/>
                    <a:pt x="2644" y="915"/>
                    <a:pt x="2650" y="892"/>
                  </a:cubicBezTo>
                  <a:cubicBezTo>
                    <a:pt x="2652" y="887"/>
                    <a:pt x="2654" y="881"/>
                    <a:pt x="2657" y="876"/>
                  </a:cubicBezTo>
                  <a:cubicBezTo>
                    <a:pt x="2658" y="873"/>
                    <a:pt x="2659" y="870"/>
                    <a:pt x="2660" y="867"/>
                  </a:cubicBezTo>
                  <a:cubicBezTo>
                    <a:pt x="2665" y="860"/>
                    <a:pt x="2665" y="860"/>
                    <a:pt x="2665" y="860"/>
                  </a:cubicBezTo>
                  <a:cubicBezTo>
                    <a:pt x="2671" y="850"/>
                    <a:pt x="2678" y="841"/>
                    <a:pt x="2687" y="832"/>
                  </a:cubicBezTo>
                  <a:cubicBezTo>
                    <a:pt x="2695" y="824"/>
                    <a:pt x="2704" y="816"/>
                    <a:pt x="2713" y="810"/>
                  </a:cubicBezTo>
                  <a:cubicBezTo>
                    <a:pt x="2723" y="803"/>
                    <a:pt x="2732" y="796"/>
                    <a:pt x="2742" y="791"/>
                  </a:cubicBezTo>
                  <a:cubicBezTo>
                    <a:pt x="2762" y="779"/>
                    <a:pt x="2783" y="770"/>
                    <a:pt x="2804" y="761"/>
                  </a:cubicBezTo>
                  <a:cubicBezTo>
                    <a:pt x="2847" y="743"/>
                    <a:pt x="2890" y="729"/>
                    <a:pt x="2934" y="717"/>
                  </a:cubicBezTo>
                  <a:cubicBezTo>
                    <a:pt x="2978" y="704"/>
                    <a:pt x="3023" y="693"/>
                    <a:pt x="3067" y="683"/>
                  </a:cubicBezTo>
                  <a:cubicBezTo>
                    <a:pt x="3089" y="677"/>
                    <a:pt x="3111" y="672"/>
                    <a:pt x="3133" y="667"/>
                  </a:cubicBezTo>
                  <a:cubicBezTo>
                    <a:pt x="3155" y="661"/>
                    <a:pt x="3177" y="655"/>
                    <a:pt x="3199" y="649"/>
                  </a:cubicBezTo>
                  <a:cubicBezTo>
                    <a:pt x="3242" y="635"/>
                    <a:pt x="3285" y="620"/>
                    <a:pt x="3325" y="600"/>
                  </a:cubicBezTo>
                  <a:cubicBezTo>
                    <a:pt x="3346" y="590"/>
                    <a:pt x="3365" y="578"/>
                    <a:pt x="3383" y="565"/>
                  </a:cubicBezTo>
                  <a:cubicBezTo>
                    <a:pt x="3401" y="552"/>
                    <a:pt x="3418" y="537"/>
                    <a:pt x="3433" y="520"/>
                  </a:cubicBezTo>
                  <a:cubicBezTo>
                    <a:pt x="3440" y="511"/>
                    <a:pt x="3446" y="502"/>
                    <a:pt x="3452" y="492"/>
                  </a:cubicBezTo>
                  <a:cubicBezTo>
                    <a:pt x="3453" y="490"/>
                    <a:pt x="3454" y="487"/>
                    <a:pt x="3456" y="485"/>
                  </a:cubicBezTo>
                  <a:cubicBezTo>
                    <a:pt x="3457" y="482"/>
                    <a:pt x="3458" y="480"/>
                    <a:pt x="3459" y="477"/>
                  </a:cubicBezTo>
                  <a:cubicBezTo>
                    <a:pt x="3463" y="470"/>
                    <a:pt x="3463" y="470"/>
                    <a:pt x="3463" y="470"/>
                  </a:cubicBezTo>
                  <a:cubicBezTo>
                    <a:pt x="3464" y="467"/>
                    <a:pt x="3465" y="464"/>
                    <a:pt x="3466" y="462"/>
                  </a:cubicBezTo>
                  <a:cubicBezTo>
                    <a:pt x="3473" y="441"/>
                    <a:pt x="3478" y="419"/>
                    <a:pt x="3477" y="397"/>
                  </a:cubicBezTo>
                  <a:cubicBezTo>
                    <a:pt x="3477" y="397"/>
                    <a:pt x="3477" y="397"/>
                    <a:pt x="3477" y="397"/>
                  </a:cubicBezTo>
                  <a:cubicBezTo>
                    <a:pt x="3471" y="360"/>
                    <a:pt x="3456" y="325"/>
                    <a:pt x="3433" y="295"/>
                  </a:cubicBezTo>
                  <a:cubicBezTo>
                    <a:pt x="3411" y="265"/>
                    <a:pt x="3381" y="241"/>
                    <a:pt x="3350" y="221"/>
                  </a:cubicBezTo>
                  <a:cubicBezTo>
                    <a:pt x="3318" y="201"/>
                    <a:pt x="3283" y="186"/>
                    <a:pt x="3248" y="173"/>
                  </a:cubicBezTo>
                  <a:cubicBezTo>
                    <a:pt x="3212" y="160"/>
                    <a:pt x="3176" y="149"/>
                    <a:pt x="3139" y="139"/>
                  </a:cubicBezTo>
                  <a:cubicBezTo>
                    <a:pt x="3121" y="134"/>
                    <a:pt x="3103" y="129"/>
                    <a:pt x="3084" y="125"/>
                  </a:cubicBezTo>
                  <a:cubicBezTo>
                    <a:pt x="3029" y="110"/>
                    <a:pt x="3029" y="110"/>
                    <a:pt x="3029" y="110"/>
                  </a:cubicBezTo>
                  <a:cubicBezTo>
                    <a:pt x="3022" y="108"/>
                    <a:pt x="3022" y="108"/>
                    <a:pt x="3022" y="108"/>
                  </a:cubicBezTo>
                  <a:cubicBezTo>
                    <a:pt x="3019" y="108"/>
                    <a:pt x="3019" y="108"/>
                    <a:pt x="3019" y="108"/>
                  </a:cubicBezTo>
                  <a:cubicBezTo>
                    <a:pt x="3018" y="107"/>
                    <a:pt x="3017" y="107"/>
                    <a:pt x="3016" y="107"/>
                  </a:cubicBezTo>
                  <a:cubicBezTo>
                    <a:pt x="3002" y="104"/>
                    <a:pt x="3002" y="104"/>
                    <a:pt x="3002" y="104"/>
                  </a:cubicBezTo>
                  <a:cubicBezTo>
                    <a:pt x="2992" y="102"/>
                    <a:pt x="2983" y="101"/>
                    <a:pt x="2974" y="99"/>
                  </a:cubicBezTo>
                  <a:cubicBezTo>
                    <a:pt x="2955" y="96"/>
                    <a:pt x="2936" y="92"/>
                    <a:pt x="2918" y="89"/>
                  </a:cubicBezTo>
                  <a:cubicBezTo>
                    <a:pt x="2843" y="77"/>
                    <a:pt x="2767" y="68"/>
                    <a:pt x="2692" y="59"/>
                  </a:cubicBezTo>
                  <a:cubicBezTo>
                    <a:pt x="2466" y="32"/>
                    <a:pt x="2466" y="32"/>
                    <a:pt x="2466" y="32"/>
                  </a:cubicBezTo>
                  <a:cubicBezTo>
                    <a:pt x="2391" y="23"/>
                    <a:pt x="2315" y="16"/>
                    <a:pt x="2239" y="11"/>
                  </a:cubicBezTo>
                  <a:cubicBezTo>
                    <a:pt x="2201" y="8"/>
                    <a:pt x="2164" y="6"/>
                    <a:pt x="2126" y="5"/>
                  </a:cubicBezTo>
                  <a:cubicBezTo>
                    <a:pt x="2116" y="5"/>
                    <a:pt x="2107" y="5"/>
                    <a:pt x="2097" y="5"/>
                  </a:cubicBezTo>
                  <a:cubicBezTo>
                    <a:pt x="2069" y="5"/>
                    <a:pt x="2069" y="5"/>
                    <a:pt x="2069" y="5"/>
                  </a:cubicBezTo>
                  <a:cubicBezTo>
                    <a:pt x="2040" y="5"/>
                    <a:pt x="2040" y="5"/>
                    <a:pt x="2040" y="5"/>
                  </a:cubicBezTo>
                  <a:cubicBezTo>
                    <a:pt x="2031" y="5"/>
                    <a:pt x="2021" y="5"/>
                    <a:pt x="2012" y="5"/>
                  </a:cubicBezTo>
                  <a:cubicBezTo>
                    <a:pt x="1974" y="7"/>
                    <a:pt x="1936" y="9"/>
                    <a:pt x="1899" y="14"/>
                  </a:cubicBezTo>
                  <a:cubicBezTo>
                    <a:pt x="1880" y="16"/>
                    <a:pt x="1861" y="19"/>
                    <a:pt x="1842" y="22"/>
                  </a:cubicBezTo>
                  <a:cubicBezTo>
                    <a:pt x="1833" y="23"/>
                    <a:pt x="1823" y="24"/>
                    <a:pt x="1814" y="26"/>
                  </a:cubicBezTo>
                  <a:cubicBezTo>
                    <a:pt x="1786" y="30"/>
                    <a:pt x="1786" y="30"/>
                    <a:pt x="1786" y="30"/>
                  </a:cubicBezTo>
                  <a:cubicBezTo>
                    <a:pt x="1711" y="39"/>
                    <a:pt x="1636" y="53"/>
                    <a:pt x="1562" y="68"/>
                  </a:cubicBezTo>
                  <a:cubicBezTo>
                    <a:pt x="1524" y="75"/>
                    <a:pt x="1487" y="83"/>
                    <a:pt x="1450" y="91"/>
                  </a:cubicBezTo>
                  <a:cubicBezTo>
                    <a:pt x="1413" y="99"/>
                    <a:pt x="1376" y="107"/>
                    <a:pt x="1339" y="115"/>
                  </a:cubicBezTo>
                  <a:cubicBezTo>
                    <a:pt x="1190" y="145"/>
                    <a:pt x="1039" y="167"/>
                    <a:pt x="889" y="187"/>
                  </a:cubicBezTo>
                  <a:cubicBezTo>
                    <a:pt x="814" y="197"/>
                    <a:pt x="739" y="209"/>
                    <a:pt x="664" y="223"/>
                  </a:cubicBezTo>
                  <a:cubicBezTo>
                    <a:pt x="590" y="236"/>
                    <a:pt x="515" y="252"/>
                    <a:pt x="441" y="269"/>
                  </a:cubicBezTo>
                  <a:cubicBezTo>
                    <a:pt x="293" y="303"/>
                    <a:pt x="147" y="342"/>
                    <a:pt x="0" y="382"/>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78"/>
            <p:cNvSpPr>
              <a:spLocks/>
            </p:cNvSpPr>
            <p:nvPr/>
          </p:nvSpPr>
          <p:spPr bwMode="auto">
            <a:xfrm>
              <a:off x="-3422098" y="1358747"/>
              <a:ext cx="8113161" cy="6254872"/>
            </a:xfrm>
            <a:custGeom>
              <a:avLst/>
              <a:gdLst>
                <a:gd name="T0" fmla="*/ 3362 w 4009"/>
                <a:gd name="T1" fmla="*/ 2800 h 3089"/>
                <a:gd name="T2" fmla="*/ 3933 w 4009"/>
                <a:gd name="T3" fmla="*/ 2056 h 3089"/>
                <a:gd name="T4" fmla="*/ 3966 w 4009"/>
                <a:gd name="T5" fmla="*/ 1971 h 3089"/>
                <a:gd name="T6" fmla="*/ 3988 w 4009"/>
                <a:gd name="T7" fmla="*/ 1880 h 3089"/>
                <a:gd name="T8" fmla="*/ 3992 w 4009"/>
                <a:gd name="T9" fmla="*/ 1785 h 3089"/>
                <a:gd name="T10" fmla="*/ 3986 w 4009"/>
                <a:gd name="T11" fmla="*/ 1737 h 3089"/>
                <a:gd name="T12" fmla="*/ 3958 w 4009"/>
                <a:gd name="T13" fmla="*/ 1653 h 3089"/>
                <a:gd name="T14" fmla="*/ 3916 w 4009"/>
                <a:gd name="T15" fmla="*/ 1585 h 3089"/>
                <a:gd name="T16" fmla="*/ 3861 w 4009"/>
                <a:gd name="T17" fmla="*/ 1526 h 3089"/>
                <a:gd name="T18" fmla="*/ 3797 w 4009"/>
                <a:gd name="T19" fmla="*/ 1474 h 3089"/>
                <a:gd name="T20" fmla="*/ 3743 w 4009"/>
                <a:gd name="T21" fmla="*/ 1440 h 3089"/>
                <a:gd name="T22" fmla="*/ 3715 w 4009"/>
                <a:gd name="T23" fmla="*/ 1425 h 3089"/>
                <a:gd name="T24" fmla="*/ 3347 w 4009"/>
                <a:gd name="T25" fmla="*/ 1334 h 3089"/>
                <a:gd name="T26" fmla="*/ 2229 w 4009"/>
                <a:gd name="T27" fmla="*/ 1207 h 3089"/>
                <a:gd name="T28" fmla="*/ 1885 w 4009"/>
                <a:gd name="T29" fmla="*/ 1008 h 3089"/>
                <a:gd name="T30" fmla="*/ 1861 w 4009"/>
                <a:gd name="T31" fmla="*/ 964 h 3089"/>
                <a:gd name="T32" fmla="*/ 1847 w 4009"/>
                <a:gd name="T33" fmla="*/ 830 h 3089"/>
                <a:gd name="T34" fmla="*/ 1874 w 4009"/>
                <a:gd name="T35" fmla="*/ 760 h 3089"/>
                <a:gd name="T36" fmla="*/ 1901 w 4009"/>
                <a:gd name="T37" fmla="*/ 719 h 3089"/>
                <a:gd name="T38" fmla="*/ 1969 w 4009"/>
                <a:gd name="T39" fmla="*/ 647 h 3089"/>
                <a:gd name="T40" fmla="*/ 2113 w 4009"/>
                <a:gd name="T41" fmla="*/ 556 h 3089"/>
                <a:gd name="T42" fmla="*/ 2814 w 4009"/>
                <a:gd name="T43" fmla="*/ 281 h 3089"/>
                <a:gd name="T44" fmla="*/ 2816 w 4009"/>
                <a:gd name="T45" fmla="*/ 204 h 3089"/>
                <a:gd name="T46" fmla="*/ 2710 w 4009"/>
                <a:gd name="T47" fmla="*/ 104 h 3089"/>
                <a:gd name="T48" fmla="*/ 1878 w 4009"/>
                <a:gd name="T49" fmla="*/ 17 h 3089"/>
                <a:gd name="T50" fmla="*/ 452 w 4009"/>
                <a:gd name="T51" fmla="*/ 116 h 3089"/>
                <a:gd name="T52" fmla="*/ 81 w 4009"/>
                <a:gd name="T53" fmla="*/ 269 h 3089"/>
                <a:gd name="T54" fmla="*/ 20 w 4009"/>
                <a:gd name="T55" fmla="*/ 304 h 3089"/>
                <a:gd name="T56" fmla="*/ 362 w 4009"/>
                <a:gd name="T57" fmla="*/ 144 h 3089"/>
                <a:gd name="T58" fmla="*/ 718 w 4009"/>
                <a:gd name="T59" fmla="*/ 54 h 3089"/>
                <a:gd name="T60" fmla="*/ 2400 w 4009"/>
                <a:gd name="T61" fmla="*/ 39 h 3089"/>
                <a:gd name="T62" fmla="*/ 2817 w 4009"/>
                <a:gd name="T63" fmla="*/ 191 h 3089"/>
                <a:gd name="T64" fmla="*/ 2826 w 4009"/>
                <a:gd name="T65" fmla="*/ 213 h 3089"/>
                <a:gd name="T66" fmla="*/ 2763 w 4009"/>
                <a:gd name="T67" fmla="*/ 344 h 3089"/>
                <a:gd name="T68" fmla="*/ 2117 w 4009"/>
                <a:gd name="T69" fmla="*/ 564 h 3089"/>
                <a:gd name="T70" fmla="*/ 1975 w 4009"/>
                <a:gd name="T71" fmla="*/ 655 h 3089"/>
                <a:gd name="T72" fmla="*/ 1908 w 4009"/>
                <a:gd name="T73" fmla="*/ 724 h 3089"/>
                <a:gd name="T74" fmla="*/ 1882 w 4009"/>
                <a:gd name="T75" fmla="*/ 765 h 3089"/>
                <a:gd name="T76" fmla="*/ 1857 w 4009"/>
                <a:gd name="T77" fmla="*/ 832 h 3089"/>
                <a:gd name="T78" fmla="*/ 1871 w 4009"/>
                <a:gd name="T79" fmla="*/ 960 h 3089"/>
                <a:gd name="T80" fmla="*/ 1894 w 4009"/>
                <a:gd name="T81" fmla="*/ 1002 h 3089"/>
                <a:gd name="T82" fmla="*/ 2232 w 4009"/>
                <a:gd name="T83" fmla="*/ 1196 h 3089"/>
                <a:gd name="T84" fmla="*/ 3349 w 4009"/>
                <a:gd name="T85" fmla="*/ 1320 h 3089"/>
                <a:gd name="T86" fmla="*/ 3732 w 4009"/>
                <a:gd name="T87" fmla="*/ 1417 h 3089"/>
                <a:gd name="T88" fmla="*/ 3769 w 4009"/>
                <a:gd name="T89" fmla="*/ 1438 h 3089"/>
                <a:gd name="T90" fmla="*/ 3822 w 4009"/>
                <a:gd name="T91" fmla="*/ 1474 h 3089"/>
                <a:gd name="T92" fmla="*/ 3887 w 4009"/>
                <a:gd name="T93" fmla="*/ 1529 h 3089"/>
                <a:gd name="T94" fmla="*/ 3941 w 4009"/>
                <a:gd name="T95" fmla="*/ 1593 h 3089"/>
                <a:gd name="T96" fmla="*/ 3981 w 4009"/>
                <a:gd name="T97" fmla="*/ 1665 h 3089"/>
                <a:gd name="T98" fmla="*/ 4004 w 4009"/>
                <a:gd name="T99" fmla="*/ 1743 h 3089"/>
                <a:gd name="T100" fmla="*/ 4009 w 4009"/>
                <a:gd name="T101" fmla="*/ 1803 h 3089"/>
                <a:gd name="T102" fmla="*/ 4001 w 4009"/>
                <a:gd name="T103" fmla="*/ 1901 h 3089"/>
                <a:gd name="T104" fmla="*/ 3979 w 4009"/>
                <a:gd name="T105" fmla="*/ 1985 h 3089"/>
                <a:gd name="T106" fmla="*/ 3881 w 4009"/>
                <a:gd name="T107" fmla="*/ 2191 h 3089"/>
                <a:gd name="T108" fmla="*/ 3276 w 4009"/>
                <a:gd name="T109" fmla="*/ 2926 h 3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09" h="3089">
                  <a:moveTo>
                    <a:pt x="3136" y="3079"/>
                  </a:moveTo>
                  <a:cubicBezTo>
                    <a:pt x="3136" y="3079"/>
                    <a:pt x="3140" y="3072"/>
                    <a:pt x="3148" y="3058"/>
                  </a:cubicBezTo>
                  <a:cubicBezTo>
                    <a:pt x="3157" y="3045"/>
                    <a:pt x="3171" y="3026"/>
                    <a:pt x="3190" y="3001"/>
                  </a:cubicBezTo>
                  <a:cubicBezTo>
                    <a:pt x="3208" y="2977"/>
                    <a:pt x="3232" y="2948"/>
                    <a:pt x="3261" y="2914"/>
                  </a:cubicBezTo>
                  <a:cubicBezTo>
                    <a:pt x="3290" y="2880"/>
                    <a:pt x="3324" y="2842"/>
                    <a:pt x="3362" y="2800"/>
                  </a:cubicBezTo>
                  <a:cubicBezTo>
                    <a:pt x="3400" y="2758"/>
                    <a:pt x="3443" y="2711"/>
                    <a:pt x="3489" y="2660"/>
                  </a:cubicBezTo>
                  <a:cubicBezTo>
                    <a:pt x="3535" y="2609"/>
                    <a:pt x="3584" y="2554"/>
                    <a:pt x="3635" y="2493"/>
                  </a:cubicBezTo>
                  <a:cubicBezTo>
                    <a:pt x="3686" y="2433"/>
                    <a:pt x="3739" y="2367"/>
                    <a:pt x="3791" y="2295"/>
                  </a:cubicBezTo>
                  <a:cubicBezTo>
                    <a:pt x="3816" y="2259"/>
                    <a:pt x="3842" y="2221"/>
                    <a:pt x="3866" y="2182"/>
                  </a:cubicBezTo>
                  <a:cubicBezTo>
                    <a:pt x="3890" y="2142"/>
                    <a:pt x="3913" y="2100"/>
                    <a:pt x="3933" y="2056"/>
                  </a:cubicBezTo>
                  <a:cubicBezTo>
                    <a:pt x="3937" y="2045"/>
                    <a:pt x="3942" y="2034"/>
                    <a:pt x="3947" y="2023"/>
                  </a:cubicBezTo>
                  <a:cubicBezTo>
                    <a:pt x="3949" y="2017"/>
                    <a:pt x="3951" y="2011"/>
                    <a:pt x="3954" y="2006"/>
                  </a:cubicBezTo>
                  <a:cubicBezTo>
                    <a:pt x="3956" y="2000"/>
                    <a:pt x="3958" y="1994"/>
                    <a:pt x="3960" y="1988"/>
                  </a:cubicBezTo>
                  <a:cubicBezTo>
                    <a:pt x="3963" y="1979"/>
                    <a:pt x="3963" y="1979"/>
                    <a:pt x="3963" y="1979"/>
                  </a:cubicBezTo>
                  <a:cubicBezTo>
                    <a:pt x="3966" y="1971"/>
                    <a:pt x="3966" y="1971"/>
                    <a:pt x="3966" y="1971"/>
                  </a:cubicBezTo>
                  <a:cubicBezTo>
                    <a:pt x="3968" y="1965"/>
                    <a:pt x="3969" y="1959"/>
                    <a:pt x="3971" y="1953"/>
                  </a:cubicBezTo>
                  <a:cubicBezTo>
                    <a:pt x="3973" y="1947"/>
                    <a:pt x="3974" y="1941"/>
                    <a:pt x="3976" y="1935"/>
                  </a:cubicBezTo>
                  <a:cubicBezTo>
                    <a:pt x="3978" y="1929"/>
                    <a:pt x="3979" y="1923"/>
                    <a:pt x="3981" y="1917"/>
                  </a:cubicBezTo>
                  <a:cubicBezTo>
                    <a:pt x="3982" y="1911"/>
                    <a:pt x="3983" y="1904"/>
                    <a:pt x="3984" y="1898"/>
                  </a:cubicBezTo>
                  <a:cubicBezTo>
                    <a:pt x="3986" y="1892"/>
                    <a:pt x="3987" y="1886"/>
                    <a:pt x="3988" y="1880"/>
                  </a:cubicBezTo>
                  <a:cubicBezTo>
                    <a:pt x="3990" y="1867"/>
                    <a:pt x="3991" y="1855"/>
                    <a:pt x="3992" y="1842"/>
                  </a:cubicBezTo>
                  <a:cubicBezTo>
                    <a:pt x="3992" y="1836"/>
                    <a:pt x="3993" y="1829"/>
                    <a:pt x="3993" y="1823"/>
                  </a:cubicBezTo>
                  <a:cubicBezTo>
                    <a:pt x="3993" y="1813"/>
                    <a:pt x="3993" y="1813"/>
                    <a:pt x="3993" y="1813"/>
                  </a:cubicBezTo>
                  <a:cubicBezTo>
                    <a:pt x="3993" y="1804"/>
                    <a:pt x="3993" y="1804"/>
                    <a:pt x="3993" y="1804"/>
                  </a:cubicBezTo>
                  <a:cubicBezTo>
                    <a:pt x="3993" y="1797"/>
                    <a:pt x="3993" y="1791"/>
                    <a:pt x="3992" y="1785"/>
                  </a:cubicBezTo>
                  <a:cubicBezTo>
                    <a:pt x="3992" y="1778"/>
                    <a:pt x="3991" y="1772"/>
                    <a:pt x="3991" y="1765"/>
                  </a:cubicBezTo>
                  <a:cubicBezTo>
                    <a:pt x="3990" y="1761"/>
                    <a:pt x="3990" y="1761"/>
                    <a:pt x="3990" y="1761"/>
                  </a:cubicBezTo>
                  <a:cubicBezTo>
                    <a:pt x="3989" y="1756"/>
                    <a:pt x="3989" y="1756"/>
                    <a:pt x="3989" y="1756"/>
                  </a:cubicBezTo>
                  <a:cubicBezTo>
                    <a:pt x="3988" y="1746"/>
                    <a:pt x="3988" y="1746"/>
                    <a:pt x="3988" y="1746"/>
                  </a:cubicBezTo>
                  <a:cubicBezTo>
                    <a:pt x="3986" y="1737"/>
                    <a:pt x="3986" y="1737"/>
                    <a:pt x="3986" y="1737"/>
                  </a:cubicBezTo>
                  <a:cubicBezTo>
                    <a:pt x="3986" y="1733"/>
                    <a:pt x="3985" y="1730"/>
                    <a:pt x="3984" y="1727"/>
                  </a:cubicBezTo>
                  <a:cubicBezTo>
                    <a:pt x="3982" y="1721"/>
                    <a:pt x="3981" y="1715"/>
                    <a:pt x="3979" y="1708"/>
                  </a:cubicBezTo>
                  <a:cubicBezTo>
                    <a:pt x="3977" y="1702"/>
                    <a:pt x="3975" y="1696"/>
                    <a:pt x="3973" y="1690"/>
                  </a:cubicBezTo>
                  <a:cubicBezTo>
                    <a:pt x="3971" y="1683"/>
                    <a:pt x="3969" y="1677"/>
                    <a:pt x="3966" y="1671"/>
                  </a:cubicBezTo>
                  <a:cubicBezTo>
                    <a:pt x="3964" y="1665"/>
                    <a:pt x="3961" y="1659"/>
                    <a:pt x="3958" y="1653"/>
                  </a:cubicBezTo>
                  <a:cubicBezTo>
                    <a:pt x="3955" y="1647"/>
                    <a:pt x="3952" y="1641"/>
                    <a:pt x="3949" y="1636"/>
                  </a:cubicBezTo>
                  <a:cubicBezTo>
                    <a:pt x="3946" y="1630"/>
                    <a:pt x="3942" y="1624"/>
                    <a:pt x="3939" y="1618"/>
                  </a:cubicBezTo>
                  <a:cubicBezTo>
                    <a:pt x="3937" y="1616"/>
                    <a:pt x="3936" y="1613"/>
                    <a:pt x="3934" y="1610"/>
                  </a:cubicBezTo>
                  <a:cubicBezTo>
                    <a:pt x="3928" y="1602"/>
                    <a:pt x="3928" y="1602"/>
                    <a:pt x="3928" y="1602"/>
                  </a:cubicBezTo>
                  <a:cubicBezTo>
                    <a:pt x="3924" y="1596"/>
                    <a:pt x="3921" y="1591"/>
                    <a:pt x="3916" y="1585"/>
                  </a:cubicBezTo>
                  <a:cubicBezTo>
                    <a:pt x="3912" y="1580"/>
                    <a:pt x="3908" y="1575"/>
                    <a:pt x="3904" y="1570"/>
                  </a:cubicBezTo>
                  <a:cubicBezTo>
                    <a:pt x="3901" y="1567"/>
                    <a:pt x="3899" y="1564"/>
                    <a:pt x="3897" y="1562"/>
                  </a:cubicBezTo>
                  <a:cubicBezTo>
                    <a:pt x="3890" y="1555"/>
                    <a:pt x="3890" y="1555"/>
                    <a:pt x="3890" y="1555"/>
                  </a:cubicBezTo>
                  <a:cubicBezTo>
                    <a:pt x="3885" y="1550"/>
                    <a:pt x="3881" y="1545"/>
                    <a:pt x="3876" y="1540"/>
                  </a:cubicBezTo>
                  <a:cubicBezTo>
                    <a:pt x="3871" y="1535"/>
                    <a:pt x="3866" y="1530"/>
                    <a:pt x="3861" y="1526"/>
                  </a:cubicBezTo>
                  <a:cubicBezTo>
                    <a:pt x="3854" y="1519"/>
                    <a:pt x="3854" y="1519"/>
                    <a:pt x="3854" y="1519"/>
                  </a:cubicBezTo>
                  <a:cubicBezTo>
                    <a:pt x="3851" y="1516"/>
                    <a:pt x="3848" y="1514"/>
                    <a:pt x="3846" y="1512"/>
                  </a:cubicBezTo>
                  <a:cubicBezTo>
                    <a:pt x="3841" y="1508"/>
                    <a:pt x="3835" y="1503"/>
                    <a:pt x="3830" y="1499"/>
                  </a:cubicBezTo>
                  <a:cubicBezTo>
                    <a:pt x="3825" y="1494"/>
                    <a:pt x="3819" y="1491"/>
                    <a:pt x="3813" y="1486"/>
                  </a:cubicBezTo>
                  <a:cubicBezTo>
                    <a:pt x="3808" y="1482"/>
                    <a:pt x="3802" y="1478"/>
                    <a:pt x="3797" y="1474"/>
                  </a:cubicBezTo>
                  <a:cubicBezTo>
                    <a:pt x="3791" y="1470"/>
                    <a:pt x="3785" y="1466"/>
                    <a:pt x="3779" y="1463"/>
                  </a:cubicBezTo>
                  <a:cubicBezTo>
                    <a:pt x="3770" y="1457"/>
                    <a:pt x="3770" y="1457"/>
                    <a:pt x="3770" y="1457"/>
                  </a:cubicBezTo>
                  <a:cubicBezTo>
                    <a:pt x="3766" y="1454"/>
                    <a:pt x="3766" y="1454"/>
                    <a:pt x="3766" y="1454"/>
                  </a:cubicBezTo>
                  <a:cubicBezTo>
                    <a:pt x="3761" y="1451"/>
                    <a:pt x="3761" y="1451"/>
                    <a:pt x="3761" y="1451"/>
                  </a:cubicBezTo>
                  <a:cubicBezTo>
                    <a:pt x="3755" y="1448"/>
                    <a:pt x="3749" y="1444"/>
                    <a:pt x="3743" y="1440"/>
                  </a:cubicBezTo>
                  <a:cubicBezTo>
                    <a:pt x="3734" y="1435"/>
                    <a:pt x="3734" y="1435"/>
                    <a:pt x="3734" y="1435"/>
                  </a:cubicBezTo>
                  <a:cubicBezTo>
                    <a:pt x="3732" y="1434"/>
                    <a:pt x="3732" y="1434"/>
                    <a:pt x="3732" y="1434"/>
                  </a:cubicBezTo>
                  <a:cubicBezTo>
                    <a:pt x="3730" y="1432"/>
                    <a:pt x="3730" y="1432"/>
                    <a:pt x="3730" y="1432"/>
                  </a:cubicBezTo>
                  <a:cubicBezTo>
                    <a:pt x="3725" y="1430"/>
                    <a:pt x="3725" y="1430"/>
                    <a:pt x="3725" y="1430"/>
                  </a:cubicBezTo>
                  <a:cubicBezTo>
                    <a:pt x="3715" y="1425"/>
                    <a:pt x="3715" y="1425"/>
                    <a:pt x="3715" y="1425"/>
                  </a:cubicBezTo>
                  <a:cubicBezTo>
                    <a:pt x="3706" y="1420"/>
                    <a:pt x="3706" y="1420"/>
                    <a:pt x="3706" y="1420"/>
                  </a:cubicBezTo>
                  <a:cubicBezTo>
                    <a:pt x="3700" y="1417"/>
                    <a:pt x="3693" y="1414"/>
                    <a:pt x="3687" y="1411"/>
                  </a:cubicBezTo>
                  <a:cubicBezTo>
                    <a:pt x="3635" y="1388"/>
                    <a:pt x="3579" y="1372"/>
                    <a:pt x="3522" y="1360"/>
                  </a:cubicBezTo>
                  <a:cubicBezTo>
                    <a:pt x="3494" y="1354"/>
                    <a:pt x="3465" y="1349"/>
                    <a:pt x="3436" y="1345"/>
                  </a:cubicBezTo>
                  <a:cubicBezTo>
                    <a:pt x="3406" y="1340"/>
                    <a:pt x="3377" y="1337"/>
                    <a:pt x="3347" y="1334"/>
                  </a:cubicBezTo>
                  <a:cubicBezTo>
                    <a:pt x="3288" y="1328"/>
                    <a:pt x="3227" y="1323"/>
                    <a:pt x="3167" y="1319"/>
                  </a:cubicBezTo>
                  <a:cubicBezTo>
                    <a:pt x="3045" y="1312"/>
                    <a:pt x="2921" y="1307"/>
                    <a:pt x="2795" y="1298"/>
                  </a:cubicBezTo>
                  <a:cubicBezTo>
                    <a:pt x="2733" y="1293"/>
                    <a:pt x="2670" y="1288"/>
                    <a:pt x="2607" y="1279"/>
                  </a:cubicBezTo>
                  <a:cubicBezTo>
                    <a:pt x="2544" y="1271"/>
                    <a:pt x="2480" y="1262"/>
                    <a:pt x="2417" y="1250"/>
                  </a:cubicBezTo>
                  <a:cubicBezTo>
                    <a:pt x="2354" y="1239"/>
                    <a:pt x="2291" y="1225"/>
                    <a:pt x="2229" y="1207"/>
                  </a:cubicBezTo>
                  <a:cubicBezTo>
                    <a:pt x="2197" y="1198"/>
                    <a:pt x="2167" y="1188"/>
                    <a:pt x="2136" y="1177"/>
                  </a:cubicBezTo>
                  <a:cubicBezTo>
                    <a:pt x="2106" y="1165"/>
                    <a:pt x="2076" y="1153"/>
                    <a:pt x="2046" y="1138"/>
                  </a:cubicBezTo>
                  <a:cubicBezTo>
                    <a:pt x="2017" y="1123"/>
                    <a:pt x="1989" y="1106"/>
                    <a:pt x="1963" y="1087"/>
                  </a:cubicBezTo>
                  <a:cubicBezTo>
                    <a:pt x="1937" y="1067"/>
                    <a:pt x="1912" y="1044"/>
                    <a:pt x="1892" y="1018"/>
                  </a:cubicBezTo>
                  <a:cubicBezTo>
                    <a:pt x="1885" y="1008"/>
                    <a:pt x="1885" y="1008"/>
                    <a:pt x="1885" y="1008"/>
                  </a:cubicBezTo>
                  <a:cubicBezTo>
                    <a:pt x="1883" y="1004"/>
                    <a:pt x="1880" y="1001"/>
                    <a:pt x="1878" y="997"/>
                  </a:cubicBezTo>
                  <a:cubicBezTo>
                    <a:pt x="1872" y="986"/>
                    <a:pt x="1872" y="986"/>
                    <a:pt x="1872" y="986"/>
                  </a:cubicBezTo>
                  <a:cubicBezTo>
                    <a:pt x="1871" y="985"/>
                    <a:pt x="1870" y="983"/>
                    <a:pt x="1869" y="981"/>
                  </a:cubicBezTo>
                  <a:cubicBezTo>
                    <a:pt x="1866" y="975"/>
                    <a:pt x="1866" y="975"/>
                    <a:pt x="1866" y="975"/>
                  </a:cubicBezTo>
                  <a:cubicBezTo>
                    <a:pt x="1861" y="964"/>
                    <a:pt x="1861" y="964"/>
                    <a:pt x="1861" y="964"/>
                  </a:cubicBezTo>
                  <a:cubicBezTo>
                    <a:pt x="1860" y="962"/>
                    <a:pt x="1859" y="960"/>
                    <a:pt x="1859" y="958"/>
                  </a:cubicBezTo>
                  <a:cubicBezTo>
                    <a:pt x="1857" y="952"/>
                    <a:pt x="1857" y="952"/>
                    <a:pt x="1857" y="952"/>
                  </a:cubicBezTo>
                  <a:cubicBezTo>
                    <a:pt x="1852" y="941"/>
                    <a:pt x="1852" y="941"/>
                    <a:pt x="1852" y="941"/>
                  </a:cubicBezTo>
                  <a:cubicBezTo>
                    <a:pt x="1851" y="937"/>
                    <a:pt x="1850" y="933"/>
                    <a:pt x="1849" y="929"/>
                  </a:cubicBezTo>
                  <a:cubicBezTo>
                    <a:pt x="1841" y="897"/>
                    <a:pt x="1840" y="862"/>
                    <a:pt x="1847" y="830"/>
                  </a:cubicBezTo>
                  <a:cubicBezTo>
                    <a:pt x="1848" y="825"/>
                    <a:pt x="1849" y="822"/>
                    <a:pt x="1851" y="818"/>
                  </a:cubicBezTo>
                  <a:cubicBezTo>
                    <a:pt x="1852" y="814"/>
                    <a:pt x="1853" y="810"/>
                    <a:pt x="1854" y="806"/>
                  </a:cubicBezTo>
                  <a:cubicBezTo>
                    <a:pt x="1858" y="794"/>
                    <a:pt x="1858" y="794"/>
                    <a:pt x="1858" y="794"/>
                  </a:cubicBezTo>
                  <a:cubicBezTo>
                    <a:pt x="1860" y="790"/>
                    <a:pt x="1861" y="786"/>
                    <a:pt x="1863" y="783"/>
                  </a:cubicBezTo>
                  <a:cubicBezTo>
                    <a:pt x="1866" y="775"/>
                    <a:pt x="1870" y="768"/>
                    <a:pt x="1874" y="760"/>
                  </a:cubicBezTo>
                  <a:cubicBezTo>
                    <a:pt x="1876" y="757"/>
                    <a:pt x="1878" y="753"/>
                    <a:pt x="1880" y="749"/>
                  </a:cubicBezTo>
                  <a:cubicBezTo>
                    <a:pt x="1883" y="744"/>
                    <a:pt x="1883" y="744"/>
                    <a:pt x="1883" y="744"/>
                  </a:cubicBezTo>
                  <a:cubicBezTo>
                    <a:pt x="1884" y="742"/>
                    <a:pt x="1885" y="741"/>
                    <a:pt x="1886" y="739"/>
                  </a:cubicBezTo>
                  <a:cubicBezTo>
                    <a:pt x="1893" y="729"/>
                    <a:pt x="1893" y="729"/>
                    <a:pt x="1893" y="729"/>
                  </a:cubicBezTo>
                  <a:cubicBezTo>
                    <a:pt x="1901" y="719"/>
                    <a:pt x="1901" y="719"/>
                    <a:pt x="1901" y="719"/>
                  </a:cubicBezTo>
                  <a:cubicBezTo>
                    <a:pt x="1904" y="714"/>
                    <a:pt x="1904" y="714"/>
                    <a:pt x="1904" y="714"/>
                  </a:cubicBezTo>
                  <a:cubicBezTo>
                    <a:pt x="1908" y="709"/>
                    <a:pt x="1908" y="709"/>
                    <a:pt x="1908" y="709"/>
                  </a:cubicBezTo>
                  <a:cubicBezTo>
                    <a:pt x="1916" y="699"/>
                    <a:pt x="1916" y="699"/>
                    <a:pt x="1916" y="699"/>
                  </a:cubicBezTo>
                  <a:cubicBezTo>
                    <a:pt x="1927" y="687"/>
                    <a:pt x="1938" y="675"/>
                    <a:pt x="1950" y="664"/>
                  </a:cubicBezTo>
                  <a:cubicBezTo>
                    <a:pt x="1956" y="658"/>
                    <a:pt x="1962" y="653"/>
                    <a:pt x="1969" y="647"/>
                  </a:cubicBezTo>
                  <a:cubicBezTo>
                    <a:pt x="1975" y="642"/>
                    <a:pt x="1981" y="637"/>
                    <a:pt x="1988" y="632"/>
                  </a:cubicBezTo>
                  <a:cubicBezTo>
                    <a:pt x="2001" y="622"/>
                    <a:pt x="2014" y="613"/>
                    <a:pt x="2028" y="604"/>
                  </a:cubicBezTo>
                  <a:cubicBezTo>
                    <a:pt x="2048" y="591"/>
                    <a:pt x="2048" y="591"/>
                    <a:pt x="2048" y="591"/>
                  </a:cubicBezTo>
                  <a:cubicBezTo>
                    <a:pt x="2070" y="578"/>
                    <a:pt x="2070" y="578"/>
                    <a:pt x="2070" y="578"/>
                  </a:cubicBezTo>
                  <a:cubicBezTo>
                    <a:pt x="2084" y="571"/>
                    <a:pt x="2098" y="563"/>
                    <a:pt x="2113" y="556"/>
                  </a:cubicBezTo>
                  <a:cubicBezTo>
                    <a:pt x="2172" y="527"/>
                    <a:pt x="2233" y="505"/>
                    <a:pt x="2295" y="487"/>
                  </a:cubicBezTo>
                  <a:cubicBezTo>
                    <a:pt x="2357" y="468"/>
                    <a:pt x="2419" y="452"/>
                    <a:pt x="2482" y="438"/>
                  </a:cubicBezTo>
                  <a:cubicBezTo>
                    <a:pt x="2544" y="424"/>
                    <a:pt x="2607" y="411"/>
                    <a:pt x="2666" y="388"/>
                  </a:cubicBezTo>
                  <a:cubicBezTo>
                    <a:pt x="2695" y="377"/>
                    <a:pt x="2723" y="363"/>
                    <a:pt x="2749" y="345"/>
                  </a:cubicBezTo>
                  <a:cubicBezTo>
                    <a:pt x="2775" y="327"/>
                    <a:pt x="2801" y="308"/>
                    <a:pt x="2814" y="281"/>
                  </a:cubicBezTo>
                  <a:cubicBezTo>
                    <a:pt x="2821" y="267"/>
                    <a:pt x="2825" y="252"/>
                    <a:pt x="2824" y="237"/>
                  </a:cubicBezTo>
                  <a:cubicBezTo>
                    <a:pt x="2823" y="230"/>
                    <a:pt x="2822" y="222"/>
                    <a:pt x="2820" y="215"/>
                  </a:cubicBezTo>
                  <a:cubicBezTo>
                    <a:pt x="2819" y="212"/>
                    <a:pt x="2819" y="212"/>
                    <a:pt x="2819" y="212"/>
                  </a:cubicBezTo>
                  <a:cubicBezTo>
                    <a:pt x="2819" y="211"/>
                    <a:pt x="2818" y="211"/>
                    <a:pt x="2818" y="210"/>
                  </a:cubicBezTo>
                  <a:cubicBezTo>
                    <a:pt x="2816" y="204"/>
                    <a:pt x="2816" y="204"/>
                    <a:pt x="2816" y="204"/>
                  </a:cubicBezTo>
                  <a:cubicBezTo>
                    <a:pt x="2813" y="199"/>
                    <a:pt x="2813" y="199"/>
                    <a:pt x="2813" y="199"/>
                  </a:cubicBezTo>
                  <a:cubicBezTo>
                    <a:pt x="2813" y="197"/>
                    <a:pt x="2812" y="196"/>
                    <a:pt x="2811" y="194"/>
                  </a:cubicBezTo>
                  <a:cubicBezTo>
                    <a:pt x="2804" y="180"/>
                    <a:pt x="2795" y="168"/>
                    <a:pt x="2785" y="156"/>
                  </a:cubicBezTo>
                  <a:cubicBezTo>
                    <a:pt x="2774" y="145"/>
                    <a:pt x="2763" y="135"/>
                    <a:pt x="2750" y="127"/>
                  </a:cubicBezTo>
                  <a:cubicBezTo>
                    <a:pt x="2738" y="118"/>
                    <a:pt x="2724" y="110"/>
                    <a:pt x="2710" y="104"/>
                  </a:cubicBezTo>
                  <a:cubicBezTo>
                    <a:pt x="2697" y="97"/>
                    <a:pt x="2682" y="92"/>
                    <a:pt x="2668" y="87"/>
                  </a:cubicBezTo>
                  <a:cubicBezTo>
                    <a:pt x="2639" y="77"/>
                    <a:pt x="2609" y="70"/>
                    <a:pt x="2579" y="65"/>
                  </a:cubicBezTo>
                  <a:cubicBezTo>
                    <a:pt x="2519" y="54"/>
                    <a:pt x="2459" y="50"/>
                    <a:pt x="2399" y="45"/>
                  </a:cubicBezTo>
                  <a:cubicBezTo>
                    <a:pt x="2340" y="40"/>
                    <a:pt x="2280" y="36"/>
                    <a:pt x="2222" y="33"/>
                  </a:cubicBezTo>
                  <a:cubicBezTo>
                    <a:pt x="2104" y="28"/>
                    <a:pt x="1990" y="22"/>
                    <a:pt x="1878" y="17"/>
                  </a:cubicBezTo>
                  <a:cubicBezTo>
                    <a:pt x="1766" y="12"/>
                    <a:pt x="1657" y="8"/>
                    <a:pt x="1552" y="6"/>
                  </a:cubicBezTo>
                  <a:cubicBezTo>
                    <a:pt x="1447" y="3"/>
                    <a:pt x="1345" y="3"/>
                    <a:pt x="1248" y="6"/>
                  </a:cubicBezTo>
                  <a:cubicBezTo>
                    <a:pt x="1053" y="11"/>
                    <a:pt x="874" y="28"/>
                    <a:pt x="718" y="55"/>
                  </a:cubicBezTo>
                  <a:cubicBezTo>
                    <a:pt x="640" y="69"/>
                    <a:pt x="567" y="85"/>
                    <a:pt x="501" y="103"/>
                  </a:cubicBezTo>
                  <a:cubicBezTo>
                    <a:pt x="484" y="107"/>
                    <a:pt x="468" y="112"/>
                    <a:pt x="452" y="116"/>
                  </a:cubicBezTo>
                  <a:cubicBezTo>
                    <a:pt x="445" y="119"/>
                    <a:pt x="437" y="121"/>
                    <a:pt x="429" y="123"/>
                  </a:cubicBezTo>
                  <a:cubicBezTo>
                    <a:pt x="421" y="126"/>
                    <a:pt x="414" y="128"/>
                    <a:pt x="406" y="131"/>
                  </a:cubicBezTo>
                  <a:cubicBezTo>
                    <a:pt x="391" y="135"/>
                    <a:pt x="377" y="140"/>
                    <a:pt x="362" y="145"/>
                  </a:cubicBezTo>
                  <a:cubicBezTo>
                    <a:pt x="348" y="150"/>
                    <a:pt x="335" y="155"/>
                    <a:pt x="321" y="160"/>
                  </a:cubicBezTo>
                  <a:cubicBezTo>
                    <a:pt x="214" y="199"/>
                    <a:pt x="134" y="239"/>
                    <a:pt x="81" y="269"/>
                  </a:cubicBezTo>
                  <a:cubicBezTo>
                    <a:pt x="74" y="272"/>
                    <a:pt x="68" y="276"/>
                    <a:pt x="62" y="279"/>
                  </a:cubicBezTo>
                  <a:cubicBezTo>
                    <a:pt x="56" y="282"/>
                    <a:pt x="51" y="286"/>
                    <a:pt x="46" y="289"/>
                  </a:cubicBezTo>
                  <a:cubicBezTo>
                    <a:pt x="36" y="295"/>
                    <a:pt x="27" y="300"/>
                    <a:pt x="20" y="304"/>
                  </a:cubicBezTo>
                  <a:cubicBezTo>
                    <a:pt x="7" y="312"/>
                    <a:pt x="0" y="316"/>
                    <a:pt x="0" y="316"/>
                  </a:cubicBezTo>
                  <a:cubicBezTo>
                    <a:pt x="0" y="316"/>
                    <a:pt x="7" y="312"/>
                    <a:pt x="20" y="304"/>
                  </a:cubicBezTo>
                  <a:cubicBezTo>
                    <a:pt x="27" y="300"/>
                    <a:pt x="36" y="295"/>
                    <a:pt x="46" y="289"/>
                  </a:cubicBezTo>
                  <a:cubicBezTo>
                    <a:pt x="51" y="286"/>
                    <a:pt x="56" y="282"/>
                    <a:pt x="62" y="279"/>
                  </a:cubicBezTo>
                  <a:cubicBezTo>
                    <a:pt x="68" y="276"/>
                    <a:pt x="74" y="272"/>
                    <a:pt x="81" y="269"/>
                  </a:cubicBezTo>
                  <a:cubicBezTo>
                    <a:pt x="134" y="239"/>
                    <a:pt x="214" y="198"/>
                    <a:pt x="321" y="159"/>
                  </a:cubicBezTo>
                  <a:cubicBezTo>
                    <a:pt x="334" y="154"/>
                    <a:pt x="348" y="149"/>
                    <a:pt x="362" y="144"/>
                  </a:cubicBezTo>
                  <a:cubicBezTo>
                    <a:pt x="376" y="139"/>
                    <a:pt x="391" y="134"/>
                    <a:pt x="406" y="130"/>
                  </a:cubicBezTo>
                  <a:cubicBezTo>
                    <a:pt x="413" y="127"/>
                    <a:pt x="421" y="125"/>
                    <a:pt x="429" y="122"/>
                  </a:cubicBezTo>
                  <a:cubicBezTo>
                    <a:pt x="436" y="120"/>
                    <a:pt x="444" y="118"/>
                    <a:pt x="452" y="115"/>
                  </a:cubicBezTo>
                  <a:cubicBezTo>
                    <a:pt x="468" y="111"/>
                    <a:pt x="484" y="106"/>
                    <a:pt x="501" y="101"/>
                  </a:cubicBezTo>
                  <a:cubicBezTo>
                    <a:pt x="567" y="84"/>
                    <a:pt x="639" y="67"/>
                    <a:pt x="718" y="54"/>
                  </a:cubicBezTo>
                  <a:cubicBezTo>
                    <a:pt x="874" y="25"/>
                    <a:pt x="1053" y="9"/>
                    <a:pt x="1248" y="3"/>
                  </a:cubicBezTo>
                  <a:cubicBezTo>
                    <a:pt x="1345" y="0"/>
                    <a:pt x="1447" y="0"/>
                    <a:pt x="1552" y="2"/>
                  </a:cubicBezTo>
                  <a:cubicBezTo>
                    <a:pt x="1658" y="4"/>
                    <a:pt x="1766" y="8"/>
                    <a:pt x="1878" y="12"/>
                  </a:cubicBezTo>
                  <a:cubicBezTo>
                    <a:pt x="1990" y="18"/>
                    <a:pt x="2105" y="23"/>
                    <a:pt x="2222" y="28"/>
                  </a:cubicBezTo>
                  <a:cubicBezTo>
                    <a:pt x="2281" y="31"/>
                    <a:pt x="2340" y="34"/>
                    <a:pt x="2400" y="39"/>
                  </a:cubicBezTo>
                  <a:cubicBezTo>
                    <a:pt x="2459" y="44"/>
                    <a:pt x="2520" y="48"/>
                    <a:pt x="2580" y="59"/>
                  </a:cubicBezTo>
                  <a:cubicBezTo>
                    <a:pt x="2611" y="64"/>
                    <a:pt x="2641" y="71"/>
                    <a:pt x="2670" y="81"/>
                  </a:cubicBezTo>
                  <a:cubicBezTo>
                    <a:pt x="2685" y="86"/>
                    <a:pt x="2699" y="91"/>
                    <a:pt x="2713" y="98"/>
                  </a:cubicBezTo>
                  <a:cubicBezTo>
                    <a:pt x="2727" y="105"/>
                    <a:pt x="2741" y="112"/>
                    <a:pt x="2754" y="121"/>
                  </a:cubicBezTo>
                  <a:cubicBezTo>
                    <a:pt x="2780" y="139"/>
                    <a:pt x="2803" y="162"/>
                    <a:pt x="2817" y="191"/>
                  </a:cubicBezTo>
                  <a:cubicBezTo>
                    <a:pt x="2818" y="193"/>
                    <a:pt x="2819" y="194"/>
                    <a:pt x="2820" y="196"/>
                  </a:cubicBezTo>
                  <a:cubicBezTo>
                    <a:pt x="2822" y="202"/>
                    <a:pt x="2822" y="202"/>
                    <a:pt x="2822" y="202"/>
                  </a:cubicBezTo>
                  <a:cubicBezTo>
                    <a:pt x="2824" y="207"/>
                    <a:pt x="2824" y="207"/>
                    <a:pt x="2824" y="207"/>
                  </a:cubicBezTo>
                  <a:cubicBezTo>
                    <a:pt x="2825" y="208"/>
                    <a:pt x="2825" y="209"/>
                    <a:pt x="2826" y="210"/>
                  </a:cubicBezTo>
                  <a:cubicBezTo>
                    <a:pt x="2826" y="213"/>
                    <a:pt x="2826" y="213"/>
                    <a:pt x="2826" y="213"/>
                  </a:cubicBezTo>
                  <a:cubicBezTo>
                    <a:pt x="2829" y="220"/>
                    <a:pt x="2830" y="229"/>
                    <a:pt x="2831" y="237"/>
                  </a:cubicBezTo>
                  <a:cubicBezTo>
                    <a:pt x="2832" y="253"/>
                    <a:pt x="2828" y="269"/>
                    <a:pt x="2821" y="284"/>
                  </a:cubicBezTo>
                  <a:cubicBezTo>
                    <a:pt x="2814" y="299"/>
                    <a:pt x="2803" y="311"/>
                    <a:pt x="2791" y="322"/>
                  </a:cubicBezTo>
                  <a:cubicBezTo>
                    <a:pt x="2785" y="327"/>
                    <a:pt x="2779" y="332"/>
                    <a:pt x="2773" y="337"/>
                  </a:cubicBezTo>
                  <a:cubicBezTo>
                    <a:pt x="2770" y="340"/>
                    <a:pt x="2767" y="342"/>
                    <a:pt x="2763" y="344"/>
                  </a:cubicBezTo>
                  <a:cubicBezTo>
                    <a:pt x="2754" y="351"/>
                    <a:pt x="2754" y="351"/>
                    <a:pt x="2754" y="351"/>
                  </a:cubicBezTo>
                  <a:cubicBezTo>
                    <a:pt x="2727" y="369"/>
                    <a:pt x="2698" y="384"/>
                    <a:pt x="2669" y="395"/>
                  </a:cubicBezTo>
                  <a:cubicBezTo>
                    <a:pt x="2609" y="419"/>
                    <a:pt x="2546" y="432"/>
                    <a:pt x="2484" y="446"/>
                  </a:cubicBezTo>
                  <a:cubicBezTo>
                    <a:pt x="2421" y="460"/>
                    <a:pt x="2359" y="476"/>
                    <a:pt x="2297" y="495"/>
                  </a:cubicBezTo>
                  <a:cubicBezTo>
                    <a:pt x="2236" y="514"/>
                    <a:pt x="2175" y="536"/>
                    <a:pt x="2117" y="564"/>
                  </a:cubicBezTo>
                  <a:cubicBezTo>
                    <a:pt x="2103" y="571"/>
                    <a:pt x="2088" y="579"/>
                    <a:pt x="2074" y="586"/>
                  </a:cubicBezTo>
                  <a:cubicBezTo>
                    <a:pt x="2053" y="599"/>
                    <a:pt x="2053" y="599"/>
                    <a:pt x="2053" y="599"/>
                  </a:cubicBezTo>
                  <a:cubicBezTo>
                    <a:pt x="2033" y="612"/>
                    <a:pt x="2033" y="612"/>
                    <a:pt x="2033" y="612"/>
                  </a:cubicBezTo>
                  <a:cubicBezTo>
                    <a:pt x="2020" y="620"/>
                    <a:pt x="2006" y="630"/>
                    <a:pt x="1993" y="640"/>
                  </a:cubicBezTo>
                  <a:cubicBezTo>
                    <a:pt x="1987" y="644"/>
                    <a:pt x="1981" y="650"/>
                    <a:pt x="1975" y="655"/>
                  </a:cubicBezTo>
                  <a:cubicBezTo>
                    <a:pt x="1969" y="660"/>
                    <a:pt x="1962" y="665"/>
                    <a:pt x="1957" y="671"/>
                  </a:cubicBezTo>
                  <a:cubicBezTo>
                    <a:pt x="1945" y="682"/>
                    <a:pt x="1934" y="693"/>
                    <a:pt x="1923" y="706"/>
                  </a:cubicBezTo>
                  <a:cubicBezTo>
                    <a:pt x="1916" y="715"/>
                    <a:pt x="1916" y="715"/>
                    <a:pt x="1916" y="715"/>
                  </a:cubicBezTo>
                  <a:cubicBezTo>
                    <a:pt x="1912" y="720"/>
                    <a:pt x="1912" y="720"/>
                    <a:pt x="1912" y="720"/>
                  </a:cubicBezTo>
                  <a:cubicBezTo>
                    <a:pt x="1908" y="724"/>
                    <a:pt x="1908" y="724"/>
                    <a:pt x="1908" y="724"/>
                  </a:cubicBezTo>
                  <a:cubicBezTo>
                    <a:pt x="1901" y="734"/>
                    <a:pt x="1901" y="734"/>
                    <a:pt x="1901" y="734"/>
                  </a:cubicBezTo>
                  <a:cubicBezTo>
                    <a:pt x="1895" y="744"/>
                    <a:pt x="1895" y="744"/>
                    <a:pt x="1895" y="744"/>
                  </a:cubicBezTo>
                  <a:cubicBezTo>
                    <a:pt x="1894" y="746"/>
                    <a:pt x="1892" y="748"/>
                    <a:pt x="1891" y="749"/>
                  </a:cubicBezTo>
                  <a:cubicBezTo>
                    <a:pt x="1888" y="754"/>
                    <a:pt x="1888" y="754"/>
                    <a:pt x="1888" y="754"/>
                  </a:cubicBezTo>
                  <a:cubicBezTo>
                    <a:pt x="1886" y="758"/>
                    <a:pt x="1884" y="761"/>
                    <a:pt x="1882" y="765"/>
                  </a:cubicBezTo>
                  <a:cubicBezTo>
                    <a:pt x="1879" y="772"/>
                    <a:pt x="1875" y="779"/>
                    <a:pt x="1872" y="787"/>
                  </a:cubicBezTo>
                  <a:cubicBezTo>
                    <a:pt x="1871" y="790"/>
                    <a:pt x="1869" y="794"/>
                    <a:pt x="1868" y="798"/>
                  </a:cubicBezTo>
                  <a:cubicBezTo>
                    <a:pt x="1864" y="809"/>
                    <a:pt x="1864" y="809"/>
                    <a:pt x="1864" y="809"/>
                  </a:cubicBezTo>
                  <a:cubicBezTo>
                    <a:pt x="1862" y="812"/>
                    <a:pt x="1861" y="816"/>
                    <a:pt x="1860" y="820"/>
                  </a:cubicBezTo>
                  <a:cubicBezTo>
                    <a:pt x="1859" y="824"/>
                    <a:pt x="1858" y="828"/>
                    <a:pt x="1857" y="832"/>
                  </a:cubicBezTo>
                  <a:cubicBezTo>
                    <a:pt x="1850" y="863"/>
                    <a:pt x="1851" y="895"/>
                    <a:pt x="1859" y="926"/>
                  </a:cubicBezTo>
                  <a:cubicBezTo>
                    <a:pt x="1860" y="930"/>
                    <a:pt x="1861" y="934"/>
                    <a:pt x="1862" y="938"/>
                  </a:cubicBezTo>
                  <a:cubicBezTo>
                    <a:pt x="1866" y="949"/>
                    <a:pt x="1866" y="949"/>
                    <a:pt x="1866" y="949"/>
                  </a:cubicBezTo>
                  <a:cubicBezTo>
                    <a:pt x="1868" y="954"/>
                    <a:pt x="1868" y="954"/>
                    <a:pt x="1868" y="954"/>
                  </a:cubicBezTo>
                  <a:cubicBezTo>
                    <a:pt x="1869" y="956"/>
                    <a:pt x="1870" y="958"/>
                    <a:pt x="1871" y="960"/>
                  </a:cubicBezTo>
                  <a:cubicBezTo>
                    <a:pt x="1876" y="971"/>
                    <a:pt x="1876" y="971"/>
                    <a:pt x="1876" y="971"/>
                  </a:cubicBezTo>
                  <a:cubicBezTo>
                    <a:pt x="1878" y="976"/>
                    <a:pt x="1878" y="976"/>
                    <a:pt x="1878" y="976"/>
                  </a:cubicBezTo>
                  <a:cubicBezTo>
                    <a:pt x="1879" y="978"/>
                    <a:pt x="1880" y="980"/>
                    <a:pt x="1881" y="981"/>
                  </a:cubicBezTo>
                  <a:cubicBezTo>
                    <a:pt x="1887" y="992"/>
                    <a:pt x="1887" y="992"/>
                    <a:pt x="1887" y="992"/>
                  </a:cubicBezTo>
                  <a:cubicBezTo>
                    <a:pt x="1889" y="995"/>
                    <a:pt x="1891" y="998"/>
                    <a:pt x="1894" y="1002"/>
                  </a:cubicBezTo>
                  <a:cubicBezTo>
                    <a:pt x="1901" y="1011"/>
                    <a:pt x="1901" y="1011"/>
                    <a:pt x="1901" y="1011"/>
                  </a:cubicBezTo>
                  <a:cubicBezTo>
                    <a:pt x="1920" y="1037"/>
                    <a:pt x="1944" y="1059"/>
                    <a:pt x="1969" y="1078"/>
                  </a:cubicBezTo>
                  <a:cubicBezTo>
                    <a:pt x="1995" y="1097"/>
                    <a:pt x="2023" y="1114"/>
                    <a:pt x="2051" y="1128"/>
                  </a:cubicBezTo>
                  <a:cubicBezTo>
                    <a:pt x="2080" y="1143"/>
                    <a:pt x="2110" y="1155"/>
                    <a:pt x="2140" y="1166"/>
                  </a:cubicBezTo>
                  <a:cubicBezTo>
                    <a:pt x="2170" y="1178"/>
                    <a:pt x="2201" y="1187"/>
                    <a:pt x="2232" y="1196"/>
                  </a:cubicBezTo>
                  <a:cubicBezTo>
                    <a:pt x="2294" y="1214"/>
                    <a:pt x="2356" y="1227"/>
                    <a:pt x="2419" y="1239"/>
                  </a:cubicBezTo>
                  <a:cubicBezTo>
                    <a:pt x="2482" y="1250"/>
                    <a:pt x="2545" y="1259"/>
                    <a:pt x="2608" y="1267"/>
                  </a:cubicBezTo>
                  <a:cubicBezTo>
                    <a:pt x="2671" y="1275"/>
                    <a:pt x="2734" y="1281"/>
                    <a:pt x="2796" y="1285"/>
                  </a:cubicBezTo>
                  <a:cubicBezTo>
                    <a:pt x="2921" y="1294"/>
                    <a:pt x="3045" y="1298"/>
                    <a:pt x="3167" y="1306"/>
                  </a:cubicBezTo>
                  <a:cubicBezTo>
                    <a:pt x="3228" y="1309"/>
                    <a:pt x="3289" y="1314"/>
                    <a:pt x="3349" y="1320"/>
                  </a:cubicBezTo>
                  <a:cubicBezTo>
                    <a:pt x="3408" y="1326"/>
                    <a:pt x="3468" y="1334"/>
                    <a:pt x="3525" y="1346"/>
                  </a:cubicBezTo>
                  <a:cubicBezTo>
                    <a:pt x="3583" y="1358"/>
                    <a:pt x="3640" y="1374"/>
                    <a:pt x="3693" y="1398"/>
                  </a:cubicBezTo>
                  <a:cubicBezTo>
                    <a:pt x="3700" y="1401"/>
                    <a:pt x="3706" y="1403"/>
                    <a:pt x="3713" y="1407"/>
                  </a:cubicBezTo>
                  <a:cubicBezTo>
                    <a:pt x="3723" y="1412"/>
                    <a:pt x="3723" y="1412"/>
                    <a:pt x="3723" y="1412"/>
                  </a:cubicBezTo>
                  <a:cubicBezTo>
                    <a:pt x="3732" y="1417"/>
                    <a:pt x="3732" y="1417"/>
                    <a:pt x="3732" y="1417"/>
                  </a:cubicBezTo>
                  <a:cubicBezTo>
                    <a:pt x="3737" y="1419"/>
                    <a:pt x="3737" y="1419"/>
                    <a:pt x="3737" y="1419"/>
                  </a:cubicBezTo>
                  <a:cubicBezTo>
                    <a:pt x="3739" y="1421"/>
                    <a:pt x="3739" y="1421"/>
                    <a:pt x="3739" y="1421"/>
                  </a:cubicBezTo>
                  <a:cubicBezTo>
                    <a:pt x="3742" y="1422"/>
                    <a:pt x="3742" y="1422"/>
                    <a:pt x="3742" y="1422"/>
                  </a:cubicBezTo>
                  <a:cubicBezTo>
                    <a:pt x="3751" y="1427"/>
                    <a:pt x="3751" y="1427"/>
                    <a:pt x="3751" y="1427"/>
                  </a:cubicBezTo>
                  <a:cubicBezTo>
                    <a:pt x="3757" y="1431"/>
                    <a:pt x="3763" y="1435"/>
                    <a:pt x="3769" y="1438"/>
                  </a:cubicBezTo>
                  <a:cubicBezTo>
                    <a:pt x="3774" y="1441"/>
                    <a:pt x="3774" y="1441"/>
                    <a:pt x="3774" y="1441"/>
                  </a:cubicBezTo>
                  <a:cubicBezTo>
                    <a:pt x="3778" y="1444"/>
                    <a:pt x="3778" y="1444"/>
                    <a:pt x="3778" y="1444"/>
                  </a:cubicBezTo>
                  <a:cubicBezTo>
                    <a:pt x="3787" y="1450"/>
                    <a:pt x="3787" y="1450"/>
                    <a:pt x="3787" y="1450"/>
                  </a:cubicBezTo>
                  <a:cubicBezTo>
                    <a:pt x="3793" y="1454"/>
                    <a:pt x="3799" y="1458"/>
                    <a:pt x="3805" y="1462"/>
                  </a:cubicBezTo>
                  <a:cubicBezTo>
                    <a:pt x="3811" y="1466"/>
                    <a:pt x="3817" y="1470"/>
                    <a:pt x="3822" y="1474"/>
                  </a:cubicBezTo>
                  <a:cubicBezTo>
                    <a:pt x="3828" y="1478"/>
                    <a:pt x="3834" y="1482"/>
                    <a:pt x="3839" y="1487"/>
                  </a:cubicBezTo>
                  <a:cubicBezTo>
                    <a:pt x="3845" y="1491"/>
                    <a:pt x="3850" y="1496"/>
                    <a:pt x="3856" y="1500"/>
                  </a:cubicBezTo>
                  <a:cubicBezTo>
                    <a:pt x="3859" y="1503"/>
                    <a:pt x="3861" y="1505"/>
                    <a:pt x="3864" y="1507"/>
                  </a:cubicBezTo>
                  <a:cubicBezTo>
                    <a:pt x="3872" y="1514"/>
                    <a:pt x="3872" y="1514"/>
                    <a:pt x="3872" y="1514"/>
                  </a:cubicBezTo>
                  <a:cubicBezTo>
                    <a:pt x="3877" y="1519"/>
                    <a:pt x="3882" y="1524"/>
                    <a:pt x="3887" y="1529"/>
                  </a:cubicBezTo>
                  <a:cubicBezTo>
                    <a:pt x="3892" y="1534"/>
                    <a:pt x="3897" y="1539"/>
                    <a:pt x="3902" y="1544"/>
                  </a:cubicBezTo>
                  <a:cubicBezTo>
                    <a:pt x="3909" y="1552"/>
                    <a:pt x="3909" y="1552"/>
                    <a:pt x="3909" y="1552"/>
                  </a:cubicBezTo>
                  <a:cubicBezTo>
                    <a:pt x="3911" y="1554"/>
                    <a:pt x="3913" y="1557"/>
                    <a:pt x="3916" y="1560"/>
                  </a:cubicBezTo>
                  <a:cubicBezTo>
                    <a:pt x="3920" y="1565"/>
                    <a:pt x="3924" y="1570"/>
                    <a:pt x="3929" y="1576"/>
                  </a:cubicBezTo>
                  <a:cubicBezTo>
                    <a:pt x="3933" y="1581"/>
                    <a:pt x="3937" y="1587"/>
                    <a:pt x="3941" y="1593"/>
                  </a:cubicBezTo>
                  <a:cubicBezTo>
                    <a:pt x="3947" y="1601"/>
                    <a:pt x="3947" y="1601"/>
                    <a:pt x="3947" y="1601"/>
                  </a:cubicBezTo>
                  <a:cubicBezTo>
                    <a:pt x="3949" y="1604"/>
                    <a:pt x="3951" y="1607"/>
                    <a:pt x="3952" y="1610"/>
                  </a:cubicBezTo>
                  <a:cubicBezTo>
                    <a:pt x="3956" y="1616"/>
                    <a:pt x="3960" y="1622"/>
                    <a:pt x="3963" y="1628"/>
                  </a:cubicBezTo>
                  <a:cubicBezTo>
                    <a:pt x="3966" y="1634"/>
                    <a:pt x="3969" y="1640"/>
                    <a:pt x="3973" y="1646"/>
                  </a:cubicBezTo>
                  <a:cubicBezTo>
                    <a:pt x="3976" y="1652"/>
                    <a:pt x="3978" y="1659"/>
                    <a:pt x="3981" y="1665"/>
                  </a:cubicBezTo>
                  <a:cubicBezTo>
                    <a:pt x="3983" y="1672"/>
                    <a:pt x="3986" y="1678"/>
                    <a:pt x="3988" y="1684"/>
                  </a:cubicBezTo>
                  <a:cubicBezTo>
                    <a:pt x="3990" y="1691"/>
                    <a:pt x="3993" y="1697"/>
                    <a:pt x="3995" y="1704"/>
                  </a:cubicBezTo>
                  <a:cubicBezTo>
                    <a:pt x="3996" y="1710"/>
                    <a:pt x="3998" y="1717"/>
                    <a:pt x="4000" y="1724"/>
                  </a:cubicBezTo>
                  <a:cubicBezTo>
                    <a:pt x="4000" y="1727"/>
                    <a:pt x="4001" y="1730"/>
                    <a:pt x="4002" y="1734"/>
                  </a:cubicBezTo>
                  <a:cubicBezTo>
                    <a:pt x="4004" y="1743"/>
                    <a:pt x="4004" y="1743"/>
                    <a:pt x="4004" y="1743"/>
                  </a:cubicBezTo>
                  <a:cubicBezTo>
                    <a:pt x="4005" y="1753"/>
                    <a:pt x="4005" y="1753"/>
                    <a:pt x="4005" y="1753"/>
                  </a:cubicBezTo>
                  <a:cubicBezTo>
                    <a:pt x="4006" y="1758"/>
                    <a:pt x="4006" y="1758"/>
                    <a:pt x="4006" y="1758"/>
                  </a:cubicBezTo>
                  <a:cubicBezTo>
                    <a:pt x="4007" y="1763"/>
                    <a:pt x="4007" y="1763"/>
                    <a:pt x="4007" y="1763"/>
                  </a:cubicBezTo>
                  <a:cubicBezTo>
                    <a:pt x="4007" y="1770"/>
                    <a:pt x="4008" y="1777"/>
                    <a:pt x="4008" y="1783"/>
                  </a:cubicBezTo>
                  <a:cubicBezTo>
                    <a:pt x="4009" y="1790"/>
                    <a:pt x="4009" y="1797"/>
                    <a:pt x="4009" y="1803"/>
                  </a:cubicBezTo>
                  <a:cubicBezTo>
                    <a:pt x="4009" y="1813"/>
                    <a:pt x="4009" y="1813"/>
                    <a:pt x="4009" y="1813"/>
                  </a:cubicBezTo>
                  <a:cubicBezTo>
                    <a:pt x="4009" y="1823"/>
                    <a:pt x="4009" y="1823"/>
                    <a:pt x="4009" y="1823"/>
                  </a:cubicBezTo>
                  <a:cubicBezTo>
                    <a:pt x="4009" y="1830"/>
                    <a:pt x="4009" y="1837"/>
                    <a:pt x="4008" y="1843"/>
                  </a:cubicBezTo>
                  <a:cubicBezTo>
                    <a:pt x="4007" y="1856"/>
                    <a:pt x="4006" y="1869"/>
                    <a:pt x="4004" y="1882"/>
                  </a:cubicBezTo>
                  <a:cubicBezTo>
                    <a:pt x="4003" y="1889"/>
                    <a:pt x="4002" y="1895"/>
                    <a:pt x="4001" y="1901"/>
                  </a:cubicBezTo>
                  <a:cubicBezTo>
                    <a:pt x="3999" y="1908"/>
                    <a:pt x="3998" y="1914"/>
                    <a:pt x="3997" y="1920"/>
                  </a:cubicBezTo>
                  <a:cubicBezTo>
                    <a:pt x="3996" y="1927"/>
                    <a:pt x="3994" y="1933"/>
                    <a:pt x="3992" y="1939"/>
                  </a:cubicBezTo>
                  <a:cubicBezTo>
                    <a:pt x="3990" y="1945"/>
                    <a:pt x="3989" y="1951"/>
                    <a:pt x="3987" y="1958"/>
                  </a:cubicBezTo>
                  <a:cubicBezTo>
                    <a:pt x="3985" y="1964"/>
                    <a:pt x="3983" y="1970"/>
                    <a:pt x="3982" y="1976"/>
                  </a:cubicBezTo>
                  <a:cubicBezTo>
                    <a:pt x="3979" y="1985"/>
                    <a:pt x="3979" y="1985"/>
                    <a:pt x="3979" y="1985"/>
                  </a:cubicBezTo>
                  <a:cubicBezTo>
                    <a:pt x="3976" y="1994"/>
                    <a:pt x="3976" y="1994"/>
                    <a:pt x="3976" y="1994"/>
                  </a:cubicBezTo>
                  <a:cubicBezTo>
                    <a:pt x="3973" y="2000"/>
                    <a:pt x="3971" y="2006"/>
                    <a:pt x="3969" y="2011"/>
                  </a:cubicBezTo>
                  <a:cubicBezTo>
                    <a:pt x="3967" y="2017"/>
                    <a:pt x="3965" y="2023"/>
                    <a:pt x="3962" y="2029"/>
                  </a:cubicBezTo>
                  <a:cubicBezTo>
                    <a:pt x="3958" y="2040"/>
                    <a:pt x="3953" y="2052"/>
                    <a:pt x="3948" y="2063"/>
                  </a:cubicBezTo>
                  <a:cubicBezTo>
                    <a:pt x="3928" y="2108"/>
                    <a:pt x="3905" y="2150"/>
                    <a:pt x="3881" y="2191"/>
                  </a:cubicBezTo>
                  <a:cubicBezTo>
                    <a:pt x="3856" y="2231"/>
                    <a:pt x="3831" y="2269"/>
                    <a:pt x="3805" y="2305"/>
                  </a:cubicBezTo>
                  <a:cubicBezTo>
                    <a:pt x="3753" y="2378"/>
                    <a:pt x="3700" y="2444"/>
                    <a:pt x="3649" y="2505"/>
                  </a:cubicBezTo>
                  <a:cubicBezTo>
                    <a:pt x="3598" y="2566"/>
                    <a:pt x="3548" y="2621"/>
                    <a:pt x="3503" y="2673"/>
                  </a:cubicBezTo>
                  <a:cubicBezTo>
                    <a:pt x="3457" y="2724"/>
                    <a:pt x="3414" y="2770"/>
                    <a:pt x="3376" y="2813"/>
                  </a:cubicBezTo>
                  <a:cubicBezTo>
                    <a:pt x="3338" y="2855"/>
                    <a:pt x="3304" y="2893"/>
                    <a:pt x="3276" y="2926"/>
                  </a:cubicBezTo>
                  <a:cubicBezTo>
                    <a:pt x="3247" y="2960"/>
                    <a:pt x="3224" y="2989"/>
                    <a:pt x="3205" y="3013"/>
                  </a:cubicBezTo>
                  <a:cubicBezTo>
                    <a:pt x="3187" y="3037"/>
                    <a:pt x="3174" y="3056"/>
                    <a:pt x="3165" y="3069"/>
                  </a:cubicBezTo>
                  <a:cubicBezTo>
                    <a:pt x="3157" y="3083"/>
                    <a:pt x="3152" y="3089"/>
                    <a:pt x="3152" y="3089"/>
                  </a:cubicBezTo>
                  <a:lnTo>
                    <a:pt x="3136" y="3079"/>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p:cNvGrpSpPr/>
          <p:nvPr/>
        </p:nvGrpSpPr>
        <p:grpSpPr>
          <a:xfrm>
            <a:off x="2226959" y="4566684"/>
            <a:ext cx="1157370" cy="2241799"/>
            <a:chOff x="6940174" y="3246442"/>
            <a:chExt cx="1175340" cy="2223712"/>
          </a:xfrm>
        </p:grpSpPr>
        <p:grpSp>
          <p:nvGrpSpPr>
            <p:cNvPr id="82" name="Group 81"/>
            <p:cNvGrpSpPr/>
            <p:nvPr/>
          </p:nvGrpSpPr>
          <p:grpSpPr>
            <a:xfrm>
              <a:off x="6940174" y="3246442"/>
              <a:ext cx="1175340" cy="2192500"/>
              <a:chOff x="5455241" y="1480656"/>
              <a:chExt cx="1517619" cy="2830995"/>
            </a:xfrm>
          </p:grpSpPr>
          <p:grpSp>
            <p:nvGrpSpPr>
              <p:cNvPr id="84" name="Group 83"/>
              <p:cNvGrpSpPr/>
              <p:nvPr/>
            </p:nvGrpSpPr>
            <p:grpSpPr>
              <a:xfrm>
                <a:off x="6083422" y="2925441"/>
                <a:ext cx="246291" cy="1386210"/>
                <a:chOff x="2641600" y="3431522"/>
                <a:chExt cx="246291" cy="2446764"/>
              </a:xfrm>
            </p:grpSpPr>
            <p:sp>
              <p:nvSpPr>
                <p:cNvPr id="87" name="Rectangle 86"/>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5" name="Flowchart: Connector 84"/>
              <p:cNvSpPr/>
              <p:nvPr/>
            </p:nvSpPr>
            <p:spPr>
              <a:xfrm>
                <a:off x="5455241" y="1480656"/>
                <a:ext cx="1517619" cy="1517619"/>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Flowchart: Connector 85"/>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Oval 82"/>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9" name="Group 98"/>
          <p:cNvGrpSpPr/>
          <p:nvPr/>
        </p:nvGrpSpPr>
        <p:grpSpPr>
          <a:xfrm>
            <a:off x="70160" y="2919224"/>
            <a:ext cx="685770" cy="1410428"/>
            <a:chOff x="6940174" y="3246442"/>
            <a:chExt cx="1175340" cy="2223712"/>
          </a:xfrm>
        </p:grpSpPr>
        <p:grpSp>
          <p:nvGrpSpPr>
            <p:cNvPr id="100" name="Group 99"/>
            <p:cNvGrpSpPr/>
            <p:nvPr/>
          </p:nvGrpSpPr>
          <p:grpSpPr>
            <a:xfrm>
              <a:off x="6940174" y="3246442"/>
              <a:ext cx="1175340" cy="2192500"/>
              <a:chOff x="5455241" y="1480656"/>
              <a:chExt cx="1517619" cy="2830995"/>
            </a:xfrm>
          </p:grpSpPr>
          <p:grpSp>
            <p:nvGrpSpPr>
              <p:cNvPr id="102" name="Group 101"/>
              <p:cNvGrpSpPr/>
              <p:nvPr/>
            </p:nvGrpSpPr>
            <p:grpSpPr>
              <a:xfrm>
                <a:off x="6083422" y="2925441"/>
                <a:ext cx="246291" cy="1386210"/>
                <a:chOff x="2641600" y="3431522"/>
                <a:chExt cx="246291" cy="2446764"/>
              </a:xfrm>
            </p:grpSpPr>
            <p:sp>
              <p:nvSpPr>
                <p:cNvPr id="105" name="Rectangle 104"/>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 name="Flowchart: Connector 102"/>
              <p:cNvSpPr/>
              <p:nvPr/>
            </p:nvSpPr>
            <p:spPr>
              <a:xfrm>
                <a:off x="5455241" y="1480656"/>
                <a:ext cx="1517619" cy="1517619"/>
              </a:xfrm>
              <a:prstGeom prst="flowChartConnector">
                <a:avLst/>
              </a:prstGeom>
              <a:solidFill>
                <a:srgbClr val="F5C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Flowchart: Connector 103"/>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1" name="Oval 100"/>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Graphic 6" descr="Building Brick Wall with solid fill">
            <a:extLst>
              <a:ext uri="{FF2B5EF4-FFF2-40B4-BE49-F238E27FC236}">
                <a16:creationId xmlns:a16="http://schemas.microsoft.com/office/drawing/2014/main" id="{4BC1CC32-1AFF-5142-B207-7C6F9016A9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2234" y="4867177"/>
            <a:ext cx="586821" cy="586821"/>
          </a:xfrm>
          <a:prstGeom prst="rect">
            <a:avLst/>
          </a:prstGeom>
        </p:spPr>
      </p:pic>
      <p:pic>
        <p:nvPicPr>
          <p:cNvPr id="11" name="Graphic 10" descr="Checklist with solid fill">
            <a:extLst>
              <a:ext uri="{FF2B5EF4-FFF2-40B4-BE49-F238E27FC236}">
                <a16:creationId xmlns:a16="http://schemas.microsoft.com/office/drawing/2014/main" id="{0926DBE0-6C50-794B-88F5-A66D97095F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229" y="3062461"/>
            <a:ext cx="486368" cy="486368"/>
          </a:xfrm>
          <a:prstGeom prst="rect">
            <a:avLst/>
          </a:prstGeom>
        </p:spPr>
      </p:pic>
      <p:pic>
        <p:nvPicPr>
          <p:cNvPr id="116" name="Picture 115" descr="A picture containing text, road, sky, outdoor&#10;&#10;Description automatically generated">
            <a:extLst>
              <a:ext uri="{FF2B5EF4-FFF2-40B4-BE49-F238E27FC236}">
                <a16:creationId xmlns:a16="http://schemas.microsoft.com/office/drawing/2014/main" id="{81F61052-0FDE-DC4F-9A1F-06F1F6701604}"/>
              </a:ext>
            </a:extLst>
          </p:cNvPr>
          <p:cNvPicPr>
            <a:picLocks noChangeAspect="1"/>
          </p:cNvPicPr>
          <p:nvPr/>
        </p:nvPicPr>
        <p:blipFill rotWithShape="1">
          <a:blip r:embed="rId8"/>
          <a:srcRect t="54405"/>
          <a:stretch/>
        </p:blipFill>
        <p:spPr>
          <a:xfrm>
            <a:off x="20" y="10"/>
            <a:ext cx="12191980" cy="1850760"/>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24" name="Straight Connector 123">
            <a:extLst>
              <a:ext uri="{FF2B5EF4-FFF2-40B4-BE49-F238E27FC236}">
                <a16:creationId xmlns:a16="http://schemas.microsoft.com/office/drawing/2014/main" id="{8BC881F4-D908-FA4F-8416-45CFF68AA272}"/>
              </a:ext>
            </a:extLst>
          </p:cNvPr>
          <p:cNvCxnSpPr>
            <a:cxnSpLocks/>
          </p:cNvCxnSpPr>
          <p:nvPr/>
        </p:nvCxnSpPr>
        <p:spPr>
          <a:xfrm>
            <a:off x="7853648" y="2900038"/>
            <a:ext cx="0" cy="289364"/>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275F65D-B990-AD40-A100-4E1435D2A39B}"/>
              </a:ext>
            </a:extLst>
          </p:cNvPr>
          <p:cNvSpPr txBox="1"/>
          <p:nvPr/>
        </p:nvSpPr>
        <p:spPr>
          <a:xfrm>
            <a:off x="7925905" y="2718715"/>
            <a:ext cx="818813" cy="400110"/>
          </a:xfrm>
          <a:prstGeom prst="rect">
            <a:avLst/>
          </a:prstGeom>
          <a:noFill/>
        </p:spPr>
        <p:txBody>
          <a:bodyPr wrap="square" rtlCol="0">
            <a:spAutoFit/>
          </a:bodyPr>
          <a:lstStyle/>
          <a:p>
            <a:r>
              <a:rPr lang="en-US" sz="2000" b="1" dirty="0">
                <a:solidFill>
                  <a:srgbClr val="FF0000"/>
                </a:solidFill>
              </a:rPr>
              <a:t>2017</a:t>
            </a:r>
            <a:endParaRPr lang="en-GB" sz="2000" b="1" dirty="0">
              <a:solidFill>
                <a:srgbClr val="FF0000"/>
              </a:solidFill>
            </a:endParaRPr>
          </a:p>
        </p:txBody>
      </p:sp>
      <p:sp>
        <p:nvSpPr>
          <p:cNvPr id="137" name="TextBox 136">
            <a:extLst>
              <a:ext uri="{FF2B5EF4-FFF2-40B4-BE49-F238E27FC236}">
                <a16:creationId xmlns:a16="http://schemas.microsoft.com/office/drawing/2014/main" id="{8F35F08A-A70B-944A-ADBB-B433D17302D9}"/>
              </a:ext>
            </a:extLst>
          </p:cNvPr>
          <p:cNvSpPr txBox="1"/>
          <p:nvPr/>
        </p:nvSpPr>
        <p:spPr>
          <a:xfrm>
            <a:off x="7924720" y="2993267"/>
            <a:ext cx="3709745" cy="307777"/>
          </a:xfrm>
          <a:prstGeom prst="rect">
            <a:avLst/>
          </a:prstGeom>
          <a:noFill/>
        </p:spPr>
        <p:txBody>
          <a:bodyPr wrap="square" rtlCol="0">
            <a:spAutoFit/>
          </a:bodyPr>
          <a:lstStyle/>
          <a:p>
            <a:r>
              <a:rPr lang="en-US" sz="1400" dirty="0"/>
              <a:t>Build Foundation</a:t>
            </a:r>
          </a:p>
        </p:txBody>
      </p:sp>
      <p:cxnSp>
        <p:nvCxnSpPr>
          <p:cNvPr id="141" name="Straight Connector 140">
            <a:extLst>
              <a:ext uri="{FF2B5EF4-FFF2-40B4-BE49-F238E27FC236}">
                <a16:creationId xmlns:a16="http://schemas.microsoft.com/office/drawing/2014/main" id="{46F8F088-629C-E249-A968-99B7F9860AF1}"/>
              </a:ext>
            </a:extLst>
          </p:cNvPr>
          <p:cNvCxnSpPr>
            <a:cxnSpLocks/>
          </p:cNvCxnSpPr>
          <p:nvPr/>
        </p:nvCxnSpPr>
        <p:spPr>
          <a:xfrm>
            <a:off x="7853648" y="3601741"/>
            <a:ext cx="0" cy="289364"/>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9851C71-6F21-2D41-B48D-D0CC21DFCA54}"/>
              </a:ext>
            </a:extLst>
          </p:cNvPr>
          <p:cNvSpPr txBox="1"/>
          <p:nvPr/>
        </p:nvSpPr>
        <p:spPr>
          <a:xfrm>
            <a:off x="7925905" y="3420418"/>
            <a:ext cx="818813" cy="400110"/>
          </a:xfrm>
          <a:prstGeom prst="rect">
            <a:avLst/>
          </a:prstGeom>
          <a:noFill/>
        </p:spPr>
        <p:txBody>
          <a:bodyPr wrap="square" rtlCol="0">
            <a:spAutoFit/>
          </a:bodyPr>
          <a:lstStyle/>
          <a:p>
            <a:r>
              <a:rPr lang="en-US" sz="2000" b="1" dirty="0">
                <a:solidFill>
                  <a:schemeClr val="accent2"/>
                </a:solidFill>
              </a:rPr>
              <a:t>2018</a:t>
            </a:r>
            <a:endParaRPr lang="en-GB" sz="2000" b="1" dirty="0">
              <a:solidFill>
                <a:schemeClr val="accent2"/>
              </a:solidFill>
            </a:endParaRPr>
          </a:p>
        </p:txBody>
      </p:sp>
      <p:sp>
        <p:nvSpPr>
          <p:cNvPr id="148" name="TextBox 147">
            <a:extLst>
              <a:ext uri="{FF2B5EF4-FFF2-40B4-BE49-F238E27FC236}">
                <a16:creationId xmlns:a16="http://schemas.microsoft.com/office/drawing/2014/main" id="{F51F1BBA-EC59-6940-9673-035630F2C26B}"/>
              </a:ext>
            </a:extLst>
          </p:cNvPr>
          <p:cNvSpPr txBox="1"/>
          <p:nvPr/>
        </p:nvSpPr>
        <p:spPr>
          <a:xfrm>
            <a:off x="7924720" y="3694970"/>
            <a:ext cx="3709745" cy="307777"/>
          </a:xfrm>
          <a:prstGeom prst="rect">
            <a:avLst/>
          </a:prstGeom>
          <a:noFill/>
        </p:spPr>
        <p:txBody>
          <a:bodyPr wrap="square" rtlCol="0">
            <a:spAutoFit/>
          </a:bodyPr>
          <a:lstStyle/>
          <a:p>
            <a:r>
              <a:rPr lang="en-US" sz="1400" dirty="0"/>
              <a:t>Automation journey through trial and error</a:t>
            </a:r>
          </a:p>
        </p:txBody>
      </p:sp>
      <p:cxnSp>
        <p:nvCxnSpPr>
          <p:cNvPr id="66" name="Straight Connector 65">
            <a:extLst>
              <a:ext uri="{FF2B5EF4-FFF2-40B4-BE49-F238E27FC236}">
                <a16:creationId xmlns:a16="http://schemas.microsoft.com/office/drawing/2014/main" id="{8529F6ED-C939-D940-878E-F855B6C4DBDB}"/>
              </a:ext>
            </a:extLst>
          </p:cNvPr>
          <p:cNvCxnSpPr>
            <a:cxnSpLocks/>
          </p:cNvCxnSpPr>
          <p:nvPr/>
        </p:nvCxnSpPr>
        <p:spPr>
          <a:xfrm>
            <a:off x="7853648" y="4323241"/>
            <a:ext cx="0" cy="289364"/>
          </a:xfrm>
          <a:prstGeom prst="line">
            <a:avLst/>
          </a:prstGeom>
          <a:ln>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697C89EA-B6ED-0848-9E7D-F56605463309}"/>
              </a:ext>
            </a:extLst>
          </p:cNvPr>
          <p:cNvSpPr txBox="1"/>
          <p:nvPr/>
        </p:nvSpPr>
        <p:spPr>
          <a:xfrm>
            <a:off x="7925905" y="4141918"/>
            <a:ext cx="818813" cy="400110"/>
          </a:xfrm>
          <a:prstGeom prst="rect">
            <a:avLst/>
          </a:prstGeom>
          <a:noFill/>
        </p:spPr>
        <p:txBody>
          <a:bodyPr wrap="square" rtlCol="0">
            <a:spAutoFit/>
          </a:bodyPr>
          <a:lstStyle/>
          <a:p>
            <a:r>
              <a:rPr lang="en-US" sz="2000" b="1" dirty="0">
                <a:solidFill>
                  <a:srgbClr val="F5CE24"/>
                </a:solidFill>
              </a:rPr>
              <a:t>2019</a:t>
            </a:r>
            <a:endParaRPr lang="en-GB" sz="2000" b="1" dirty="0">
              <a:solidFill>
                <a:srgbClr val="F5CE24"/>
              </a:solidFill>
            </a:endParaRPr>
          </a:p>
        </p:txBody>
      </p:sp>
      <p:sp>
        <p:nvSpPr>
          <p:cNvPr id="68" name="TextBox 67">
            <a:extLst>
              <a:ext uri="{FF2B5EF4-FFF2-40B4-BE49-F238E27FC236}">
                <a16:creationId xmlns:a16="http://schemas.microsoft.com/office/drawing/2014/main" id="{E4867EA9-3A7B-E148-B679-226E7A5CF181}"/>
              </a:ext>
            </a:extLst>
          </p:cNvPr>
          <p:cNvSpPr txBox="1"/>
          <p:nvPr/>
        </p:nvSpPr>
        <p:spPr>
          <a:xfrm>
            <a:off x="7924720" y="4416470"/>
            <a:ext cx="4263156" cy="307777"/>
          </a:xfrm>
          <a:prstGeom prst="rect">
            <a:avLst/>
          </a:prstGeom>
          <a:noFill/>
        </p:spPr>
        <p:txBody>
          <a:bodyPr wrap="square" rtlCol="0">
            <a:spAutoFit/>
          </a:bodyPr>
          <a:lstStyle/>
          <a:p>
            <a:r>
              <a:rPr lang="en-IN" sz="1400" dirty="0">
                <a:ea typeface="Lato Light" panose="020F0502020204030203" pitchFamily="34" charset="0"/>
                <a:cs typeface="Segoe UI Light" panose="020B0502040204020203" pitchFamily="34" charset="0"/>
              </a:rPr>
              <a:t>Standardize tools, best practices, and continuous testing</a:t>
            </a:r>
            <a:endParaRPr lang="en-US" sz="1400" dirty="0"/>
          </a:p>
        </p:txBody>
      </p:sp>
      <p:grpSp>
        <p:nvGrpSpPr>
          <p:cNvPr id="71" name="Group 70">
            <a:extLst>
              <a:ext uri="{FF2B5EF4-FFF2-40B4-BE49-F238E27FC236}">
                <a16:creationId xmlns:a16="http://schemas.microsoft.com/office/drawing/2014/main" id="{B66F5817-73AB-634D-BFDC-D56E075F29FF}"/>
              </a:ext>
            </a:extLst>
          </p:cNvPr>
          <p:cNvGrpSpPr/>
          <p:nvPr/>
        </p:nvGrpSpPr>
        <p:grpSpPr>
          <a:xfrm>
            <a:off x="2915773" y="1913271"/>
            <a:ext cx="629874" cy="1105084"/>
            <a:chOff x="1858629" y="1300465"/>
            <a:chExt cx="865521" cy="1637542"/>
          </a:xfrm>
        </p:grpSpPr>
        <p:grpSp>
          <p:nvGrpSpPr>
            <p:cNvPr id="72" name="Group 71">
              <a:extLst>
                <a:ext uri="{FF2B5EF4-FFF2-40B4-BE49-F238E27FC236}">
                  <a16:creationId xmlns:a16="http://schemas.microsoft.com/office/drawing/2014/main" id="{BADB2F45-AAA9-E849-A278-CDAC44491DAB}"/>
                </a:ext>
              </a:extLst>
            </p:cNvPr>
            <p:cNvGrpSpPr/>
            <p:nvPr/>
          </p:nvGrpSpPr>
          <p:grpSpPr>
            <a:xfrm>
              <a:off x="1858629" y="1300465"/>
              <a:ext cx="865521" cy="1637542"/>
              <a:chOff x="6940174" y="3246442"/>
              <a:chExt cx="1175340" cy="2223712"/>
            </a:xfrm>
          </p:grpSpPr>
          <p:grpSp>
            <p:nvGrpSpPr>
              <p:cNvPr id="74" name="Group 73">
                <a:extLst>
                  <a:ext uri="{FF2B5EF4-FFF2-40B4-BE49-F238E27FC236}">
                    <a16:creationId xmlns:a16="http://schemas.microsoft.com/office/drawing/2014/main" id="{BE3D015C-E09A-AA4C-916A-82B3CE01F715}"/>
                  </a:ext>
                </a:extLst>
              </p:cNvPr>
              <p:cNvGrpSpPr/>
              <p:nvPr/>
            </p:nvGrpSpPr>
            <p:grpSpPr>
              <a:xfrm>
                <a:off x="6940174" y="3246442"/>
                <a:ext cx="1175340" cy="2192500"/>
                <a:chOff x="5455241" y="1480656"/>
                <a:chExt cx="1517619" cy="2830995"/>
              </a:xfrm>
            </p:grpSpPr>
            <p:grpSp>
              <p:nvGrpSpPr>
                <p:cNvPr id="76" name="Group 75">
                  <a:extLst>
                    <a:ext uri="{FF2B5EF4-FFF2-40B4-BE49-F238E27FC236}">
                      <a16:creationId xmlns:a16="http://schemas.microsoft.com/office/drawing/2014/main" id="{5CCCF848-4996-A547-BED5-64AE4390F5A9}"/>
                    </a:ext>
                  </a:extLst>
                </p:cNvPr>
                <p:cNvGrpSpPr/>
                <p:nvPr/>
              </p:nvGrpSpPr>
              <p:grpSpPr>
                <a:xfrm>
                  <a:off x="6083422" y="2925441"/>
                  <a:ext cx="246291" cy="1386210"/>
                  <a:chOff x="2641600" y="3431522"/>
                  <a:chExt cx="246291" cy="2446764"/>
                </a:xfrm>
              </p:grpSpPr>
              <p:sp>
                <p:nvSpPr>
                  <p:cNvPr id="89" name="Rectangle 88">
                    <a:extLst>
                      <a:ext uri="{FF2B5EF4-FFF2-40B4-BE49-F238E27FC236}">
                        <a16:creationId xmlns:a16="http://schemas.microsoft.com/office/drawing/2014/main" id="{BE209A4C-215C-B840-A5EB-DB89BB7A7915}"/>
                      </a:ext>
                    </a:extLst>
                  </p:cNvPr>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585A8433-6F8F-6048-9E6F-043CA2D27B59}"/>
                      </a:ext>
                    </a:extLst>
                  </p:cNvPr>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7" name="Flowchart: Connector 111">
                  <a:extLst>
                    <a:ext uri="{FF2B5EF4-FFF2-40B4-BE49-F238E27FC236}">
                      <a16:creationId xmlns:a16="http://schemas.microsoft.com/office/drawing/2014/main" id="{3D084982-C82F-B149-B2A5-2FCC86F1CC7F}"/>
                    </a:ext>
                  </a:extLst>
                </p:cNvPr>
                <p:cNvSpPr/>
                <p:nvPr/>
              </p:nvSpPr>
              <p:spPr>
                <a:xfrm>
                  <a:off x="5455241" y="1480656"/>
                  <a:ext cx="1517619" cy="1517619"/>
                </a:xfrm>
                <a:prstGeom prst="flowChartConnector">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lowchart: Connector 112">
                  <a:extLst>
                    <a:ext uri="{FF2B5EF4-FFF2-40B4-BE49-F238E27FC236}">
                      <a16:creationId xmlns:a16="http://schemas.microsoft.com/office/drawing/2014/main" id="{FF91CFAB-5C90-3C4F-A914-0C8E62825D97}"/>
                    </a:ext>
                  </a:extLst>
                </p:cNvPr>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Oval 74">
                <a:extLst>
                  <a:ext uri="{FF2B5EF4-FFF2-40B4-BE49-F238E27FC236}">
                    <a16:creationId xmlns:a16="http://schemas.microsoft.com/office/drawing/2014/main" id="{21068F9B-AEB6-6A42-9526-76D6C0FBA8C8}"/>
                  </a:ext>
                </a:extLst>
              </p:cNvPr>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3" name="Freeform 65">
              <a:extLst>
                <a:ext uri="{FF2B5EF4-FFF2-40B4-BE49-F238E27FC236}">
                  <a16:creationId xmlns:a16="http://schemas.microsoft.com/office/drawing/2014/main" id="{27C83BE5-9218-044C-B6AF-BF2AB0A6029F}"/>
                </a:ext>
              </a:extLst>
            </p:cNvPr>
            <p:cNvSpPr>
              <a:spLocks noChangeArrowheads="1"/>
            </p:cNvSpPr>
            <p:nvPr/>
          </p:nvSpPr>
          <p:spPr bwMode="auto">
            <a:xfrm>
              <a:off x="2165581" y="1606627"/>
              <a:ext cx="251615" cy="249500"/>
            </a:xfrm>
            <a:custGeom>
              <a:avLst/>
              <a:gdLst>
                <a:gd name="T0" fmla="*/ 172604 w 417"/>
                <a:gd name="T1" fmla="*/ 91192 h 417"/>
                <a:gd name="T2" fmla="*/ 172604 w 417"/>
                <a:gd name="T3" fmla="*/ 91192 h 417"/>
                <a:gd name="T4" fmla="*/ 188460 w 417"/>
                <a:gd name="T5" fmla="*/ 63340 h 417"/>
                <a:gd name="T6" fmla="*/ 184836 w 417"/>
                <a:gd name="T7" fmla="*/ 47617 h 417"/>
                <a:gd name="T8" fmla="*/ 152671 w 417"/>
                <a:gd name="T9" fmla="*/ 35488 h 417"/>
                <a:gd name="T10" fmla="*/ 144516 w 417"/>
                <a:gd name="T11" fmla="*/ 7637 h 417"/>
                <a:gd name="T12" fmla="*/ 124583 w 417"/>
                <a:gd name="T13" fmla="*/ 0 h 417"/>
                <a:gd name="T14" fmla="*/ 96495 w 417"/>
                <a:gd name="T15" fmla="*/ 15723 h 417"/>
                <a:gd name="T16" fmla="*/ 68407 w 417"/>
                <a:gd name="T17" fmla="*/ 0 h 417"/>
                <a:gd name="T18" fmla="*/ 48474 w 417"/>
                <a:gd name="T19" fmla="*/ 7637 h 417"/>
                <a:gd name="T20" fmla="*/ 40320 w 417"/>
                <a:gd name="T21" fmla="*/ 35488 h 417"/>
                <a:gd name="T22" fmla="*/ 8155 w 417"/>
                <a:gd name="T23" fmla="*/ 47617 h 417"/>
                <a:gd name="T24" fmla="*/ 0 w 417"/>
                <a:gd name="T25" fmla="*/ 63340 h 417"/>
                <a:gd name="T26" fmla="*/ 19933 w 417"/>
                <a:gd name="T27" fmla="*/ 91192 h 417"/>
                <a:gd name="T28" fmla="*/ 0 w 417"/>
                <a:gd name="T29" fmla="*/ 123536 h 417"/>
                <a:gd name="T30" fmla="*/ 8155 w 417"/>
                <a:gd name="T31" fmla="*/ 139258 h 417"/>
                <a:gd name="T32" fmla="*/ 40320 w 417"/>
                <a:gd name="T33" fmla="*/ 147344 h 417"/>
                <a:gd name="T34" fmla="*/ 48474 w 417"/>
                <a:gd name="T35" fmla="*/ 178790 h 417"/>
                <a:gd name="T36" fmla="*/ 68407 w 417"/>
                <a:gd name="T37" fmla="*/ 186876 h 417"/>
                <a:gd name="T38" fmla="*/ 96495 w 417"/>
                <a:gd name="T39" fmla="*/ 167110 h 417"/>
                <a:gd name="T40" fmla="*/ 124583 w 417"/>
                <a:gd name="T41" fmla="*/ 186876 h 417"/>
                <a:gd name="T42" fmla="*/ 144516 w 417"/>
                <a:gd name="T43" fmla="*/ 178790 h 417"/>
                <a:gd name="T44" fmla="*/ 152671 w 417"/>
                <a:gd name="T45" fmla="*/ 147344 h 417"/>
                <a:gd name="T46" fmla="*/ 184836 w 417"/>
                <a:gd name="T47" fmla="*/ 139258 h 417"/>
                <a:gd name="T48" fmla="*/ 188460 w 417"/>
                <a:gd name="T49" fmla="*/ 119043 h 417"/>
                <a:gd name="T50" fmla="*/ 172604 w 417"/>
                <a:gd name="T51" fmla="*/ 91192 h 417"/>
                <a:gd name="T52" fmla="*/ 96495 w 417"/>
                <a:gd name="T53" fmla="*/ 131172 h 417"/>
                <a:gd name="T54" fmla="*/ 96495 w 417"/>
                <a:gd name="T55" fmla="*/ 131172 h 417"/>
                <a:gd name="T56" fmla="*/ 56629 w 417"/>
                <a:gd name="T57" fmla="*/ 91192 h 417"/>
                <a:gd name="T58" fmla="*/ 96495 w 417"/>
                <a:gd name="T59" fmla="*/ 51660 h 417"/>
                <a:gd name="T60" fmla="*/ 136362 w 417"/>
                <a:gd name="T61" fmla="*/ 91192 h 417"/>
                <a:gd name="T62" fmla="*/ 96495 w 417"/>
                <a:gd name="T63" fmla="*/ 131172 h 4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17" h="417">
                  <a:moveTo>
                    <a:pt x="381" y="203"/>
                  </a:moveTo>
                  <a:lnTo>
                    <a:pt x="381" y="203"/>
                  </a:lnTo>
                  <a:cubicBezTo>
                    <a:pt x="381" y="177"/>
                    <a:pt x="399" y="159"/>
                    <a:pt x="416" y="141"/>
                  </a:cubicBezTo>
                  <a:cubicBezTo>
                    <a:pt x="416" y="132"/>
                    <a:pt x="408" y="115"/>
                    <a:pt x="408" y="106"/>
                  </a:cubicBezTo>
                  <a:cubicBezTo>
                    <a:pt x="372" y="115"/>
                    <a:pt x="354" y="97"/>
                    <a:pt x="337" y="79"/>
                  </a:cubicBezTo>
                  <a:cubicBezTo>
                    <a:pt x="319" y="62"/>
                    <a:pt x="310" y="44"/>
                    <a:pt x="319" y="17"/>
                  </a:cubicBezTo>
                  <a:cubicBezTo>
                    <a:pt x="310" y="9"/>
                    <a:pt x="293" y="0"/>
                    <a:pt x="275" y="0"/>
                  </a:cubicBezTo>
                  <a:cubicBezTo>
                    <a:pt x="266" y="17"/>
                    <a:pt x="240" y="35"/>
                    <a:pt x="213" y="35"/>
                  </a:cubicBezTo>
                  <a:cubicBezTo>
                    <a:pt x="187" y="35"/>
                    <a:pt x="160" y="17"/>
                    <a:pt x="151" y="0"/>
                  </a:cubicBezTo>
                  <a:cubicBezTo>
                    <a:pt x="133" y="0"/>
                    <a:pt x="116" y="9"/>
                    <a:pt x="107" y="17"/>
                  </a:cubicBezTo>
                  <a:cubicBezTo>
                    <a:pt x="116" y="44"/>
                    <a:pt x="107" y="62"/>
                    <a:pt x="89" y="79"/>
                  </a:cubicBezTo>
                  <a:cubicBezTo>
                    <a:pt x="72" y="97"/>
                    <a:pt x="44" y="115"/>
                    <a:pt x="18" y="106"/>
                  </a:cubicBezTo>
                  <a:cubicBezTo>
                    <a:pt x="18" y="115"/>
                    <a:pt x="9" y="132"/>
                    <a:pt x="0" y="141"/>
                  </a:cubicBezTo>
                  <a:cubicBezTo>
                    <a:pt x="27" y="159"/>
                    <a:pt x="44" y="177"/>
                    <a:pt x="44" y="203"/>
                  </a:cubicBezTo>
                  <a:cubicBezTo>
                    <a:pt x="44" y="230"/>
                    <a:pt x="27" y="256"/>
                    <a:pt x="0" y="275"/>
                  </a:cubicBezTo>
                  <a:cubicBezTo>
                    <a:pt x="9" y="283"/>
                    <a:pt x="18" y="301"/>
                    <a:pt x="18" y="310"/>
                  </a:cubicBezTo>
                  <a:cubicBezTo>
                    <a:pt x="44" y="310"/>
                    <a:pt x="72" y="310"/>
                    <a:pt x="89" y="328"/>
                  </a:cubicBezTo>
                  <a:cubicBezTo>
                    <a:pt x="107" y="345"/>
                    <a:pt x="116" y="372"/>
                    <a:pt x="107" y="398"/>
                  </a:cubicBezTo>
                  <a:cubicBezTo>
                    <a:pt x="116" y="407"/>
                    <a:pt x="133" y="407"/>
                    <a:pt x="151" y="416"/>
                  </a:cubicBezTo>
                  <a:cubicBezTo>
                    <a:pt x="160" y="389"/>
                    <a:pt x="187" y="372"/>
                    <a:pt x="213" y="372"/>
                  </a:cubicBezTo>
                  <a:cubicBezTo>
                    <a:pt x="240" y="372"/>
                    <a:pt x="266" y="389"/>
                    <a:pt x="275" y="416"/>
                  </a:cubicBezTo>
                  <a:cubicBezTo>
                    <a:pt x="293" y="407"/>
                    <a:pt x="310" y="407"/>
                    <a:pt x="319" y="398"/>
                  </a:cubicBezTo>
                  <a:cubicBezTo>
                    <a:pt x="310" y="372"/>
                    <a:pt x="319" y="345"/>
                    <a:pt x="337" y="328"/>
                  </a:cubicBezTo>
                  <a:cubicBezTo>
                    <a:pt x="354" y="310"/>
                    <a:pt x="372" y="301"/>
                    <a:pt x="408" y="310"/>
                  </a:cubicBezTo>
                  <a:cubicBezTo>
                    <a:pt x="408" y="292"/>
                    <a:pt x="416" y="283"/>
                    <a:pt x="416" y="265"/>
                  </a:cubicBezTo>
                  <a:cubicBezTo>
                    <a:pt x="399" y="256"/>
                    <a:pt x="381" y="230"/>
                    <a:pt x="381" y="203"/>
                  </a:cubicBezTo>
                  <a:close/>
                  <a:moveTo>
                    <a:pt x="213" y="292"/>
                  </a:moveTo>
                  <a:lnTo>
                    <a:pt x="213" y="292"/>
                  </a:lnTo>
                  <a:cubicBezTo>
                    <a:pt x="160" y="292"/>
                    <a:pt x="125" y="256"/>
                    <a:pt x="125" y="203"/>
                  </a:cubicBezTo>
                  <a:cubicBezTo>
                    <a:pt x="125" y="159"/>
                    <a:pt x="160" y="115"/>
                    <a:pt x="213" y="115"/>
                  </a:cubicBezTo>
                  <a:cubicBezTo>
                    <a:pt x="266" y="115"/>
                    <a:pt x="301" y="159"/>
                    <a:pt x="301" y="203"/>
                  </a:cubicBezTo>
                  <a:cubicBezTo>
                    <a:pt x="301" y="256"/>
                    <a:pt x="266" y="292"/>
                    <a:pt x="213" y="292"/>
                  </a:cubicBezTo>
                  <a:close/>
                </a:path>
              </a:pathLst>
            </a:custGeom>
            <a:solidFill>
              <a:srgbClr val="92D050"/>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grpSp>
      <p:grpSp>
        <p:nvGrpSpPr>
          <p:cNvPr id="107" name="Group 106">
            <a:extLst>
              <a:ext uri="{FF2B5EF4-FFF2-40B4-BE49-F238E27FC236}">
                <a16:creationId xmlns:a16="http://schemas.microsoft.com/office/drawing/2014/main" id="{7956C440-C350-314C-B453-8F938CA1C479}"/>
              </a:ext>
            </a:extLst>
          </p:cNvPr>
          <p:cNvGrpSpPr/>
          <p:nvPr/>
        </p:nvGrpSpPr>
        <p:grpSpPr>
          <a:xfrm>
            <a:off x="2915773" y="1913271"/>
            <a:ext cx="629874" cy="1105084"/>
            <a:chOff x="1858629" y="1300465"/>
            <a:chExt cx="865521" cy="1637542"/>
          </a:xfrm>
        </p:grpSpPr>
        <p:grpSp>
          <p:nvGrpSpPr>
            <p:cNvPr id="117" name="Group 116">
              <a:extLst>
                <a:ext uri="{FF2B5EF4-FFF2-40B4-BE49-F238E27FC236}">
                  <a16:creationId xmlns:a16="http://schemas.microsoft.com/office/drawing/2014/main" id="{17F3A5D8-55F6-4146-B8B3-4176A6898A33}"/>
                </a:ext>
              </a:extLst>
            </p:cNvPr>
            <p:cNvGrpSpPr/>
            <p:nvPr/>
          </p:nvGrpSpPr>
          <p:grpSpPr>
            <a:xfrm>
              <a:off x="1858629" y="1300465"/>
              <a:ext cx="865521" cy="1637542"/>
              <a:chOff x="6940174" y="3246442"/>
              <a:chExt cx="1175340" cy="2223712"/>
            </a:xfrm>
          </p:grpSpPr>
          <p:grpSp>
            <p:nvGrpSpPr>
              <p:cNvPr id="125" name="Group 124">
                <a:extLst>
                  <a:ext uri="{FF2B5EF4-FFF2-40B4-BE49-F238E27FC236}">
                    <a16:creationId xmlns:a16="http://schemas.microsoft.com/office/drawing/2014/main" id="{C5A9D96F-E455-A94A-810D-BDFBD73BB95D}"/>
                  </a:ext>
                </a:extLst>
              </p:cNvPr>
              <p:cNvGrpSpPr/>
              <p:nvPr/>
            </p:nvGrpSpPr>
            <p:grpSpPr>
              <a:xfrm>
                <a:off x="6940174" y="3246442"/>
                <a:ext cx="1175340" cy="2192500"/>
                <a:chOff x="5455241" y="1480656"/>
                <a:chExt cx="1517619" cy="2830995"/>
              </a:xfrm>
            </p:grpSpPr>
            <p:grpSp>
              <p:nvGrpSpPr>
                <p:cNvPr id="127" name="Group 126">
                  <a:extLst>
                    <a:ext uri="{FF2B5EF4-FFF2-40B4-BE49-F238E27FC236}">
                      <a16:creationId xmlns:a16="http://schemas.microsoft.com/office/drawing/2014/main" id="{6BFFE787-D91C-0F4C-82DB-0E379C22B919}"/>
                    </a:ext>
                  </a:extLst>
                </p:cNvPr>
                <p:cNvGrpSpPr/>
                <p:nvPr/>
              </p:nvGrpSpPr>
              <p:grpSpPr>
                <a:xfrm>
                  <a:off x="6083422" y="2925441"/>
                  <a:ext cx="246291" cy="1386210"/>
                  <a:chOff x="2641600" y="3431522"/>
                  <a:chExt cx="246291" cy="2446764"/>
                </a:xfrm>
              </p:grpSpPr>
              <p:sp>
                <p:nvSpPr>
                  <p:cNvPr id="131" name="Rectangle 130">
                    <a:extLst>
                      <a:ext uri="{FF2B5EF4-FFF2-40B4-BE49-F238E27FC236}">
                        <a16:creationId xmlns:a16="http://schemas.microsoft.com/office/drawing/2014/main" id="{CE9C0460-9442-1E4C-AA34-381364F60015}"/>
                      </a:ext>
                    </a:extLst>
                  </p:cNvPr>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E4927608-DC65-044E-BBA1-CE7605A27562}"/>
                      </a:ext>
                    </a:extLst>
                  </p:cNvPr>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9" name="Flowchart: Connector 111">
                  <a:extLst>
                    <a:ext uri="{FF2B5EF4-FFF2-40B4-BE49-F238E27FC236}">
                      <a16:creationId xmlns:a16="http://schemas.microsoft.com/office/drawing/2014/main" id="{20ADFBCB-0718-BE4B-A5EB-5A61358B7B57}"/>
                    </a:ext>
                  </a:extLst>
                </p:cNvPr>
                <p:cNvSpPr/>
                <p:nvPr/>
              </p:nvSpPr>
              <p:spPr>
                <a:xfrm>
                  <a:off x="5455241" y="1480656"/>
                  <a:ext cx="1517619" cy="1517619"/>
                </a:xfrm>
                <a:prstGeom prst="flowChartConnector">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Flowchart: Connector 112">
                  <a:extLst>
                    <a:ext uri="{FF2B5EF4-FFF2-40B4-BE49-F238E27FC236}">
                      <a16:creationId xmlns:a16="http://schemas.microsoft.com/office/drawing/2014/main" id="{1493089B-753B-D943-BB33-0E4E1FB3E9AC}"/>
                    </a:ext>
                  </a:extLst>
                </p:cNvPr>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6" name="Oval 125">
                <a:extLst>
                  <a:ext uri="{FF2B5EF4-FFF2-40B4-BE49-F238E27FC236}">
                    <a16:creationId xmlns:a16="http://schemas.microsoft.com/office/drawing/2014/main" id="{0EDB5A43-A8FE-1849-B2E1-8F95AB9BF101}"/>
                  </a:ext>
                </a:extLst>
              </p:cNvPr>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1" name="Freeform 65">
              <a:extLst>
                <a:ext uri="{FF2B5EF4-FFF2-40B4-BE49-F238E27FC236}">
                  <a16:creationId xmlns:a16="http://schemas.microsoft.com/office/drawing/2014/main" id="{4FEEE1D9-7722-2F4B-9DCF-040165B10AAA}"/>
                </a:ext>
              </a:extLst>
            </p:cNvPr>
            <p:cNvSpPr>
              <a:spLocks noChangeArrowheads="1"/>
            </p:cNvSpPr>
            <p:nvPr/>
          </p:nvSpPr>
          <p:spPr bwMode="auto">
            <a:xfrm>
              <a:off x="2165581" y="1606627"/>
              <a:ext cx="251615" cy="249500"/>
            </a:xfrm>
            <a:custGeom>
              <a:avLst/>
              <a:gdLst>
                <a:gd name="T0" fmla="*/ 172604 w 417"/>
                <a:gd name="T1" fmla="*/ 91192 h 417"/>
                <a:gd name="T2" fmla="*/ 172604 w 417"/>
                <a:gd name="T3" fmla="*/ 91192 h 417"/>
                <a:gd name="T4" fmla="*/ 188460 w 417"/>
                <a:gd name="T5" fmla="*/ 63340 h 417"/>
                <a:gd name="T6" fmla="*/ 184836 w 417"/>
                <a:gd name="T7" fmla="*/ 47617 h 417"/>
                <a:gd name="T8" fmla="*/ 152671 w 417"/>
                <a:gd name="T9" fmla="*/ 35488 h 417"/>
                <a:gd name="T10" fmla="*/ 144516 w 417"/>
                <a:gd name="T11" fmla="*/ 7637 h 417"/>
                <a:gd name="T12" fmla="*/ 124583 w 417"/>
                <a:gd name="T13" fmla="*/ 0 h 417"/>
                <a:gd name="T14" fmla="*/ 96495 w 417"/>
                <a:gd name="T15" fmla="*/ 15723 h 417"/>
                <a:gd name="T16" fmla="*/ 68407 w 417"/>
                <a:gd name="T17" fmla="*/ 0 h 417"/>
                <a:gd name="T18" fmla="*/ 48474 w 417"/>
                <a:gd name="T19" fmla="*/ 7637 h 417"/>
                <a:gd name="T20" fmla="*/ 40320 w 417"/>
                <a:gd name="T21" fmla="*/ 35488 h 417"/>
                <a:gd name="T22" fmla="*/ 8155 w 417"/>
                <a:gd name="T23" fmla="*/ 47617 h 417"/>
                <a:gd name="T24" fmla="*/ 0 w 417"/>
                <a:gd name="T25" fmla="*/ 63340 h 417"/>
                <a:gd name="T26" fmla="*/ 19933 w 417"/>
                <a:gd name="T27" fmla="*/ 91192 h 417"/>
                <a:gd name="T28" fmla="*/ 0 w 417"/>
                <a:gd name="T29" fmla="*/ 123536 h 417"/>
                <a:gd name="T30" fmla="*/ 8155 w 417"/>
                <a:gd name="T31" fmla="*/ 139258 h 417"/>
                <a:gd name="T32" fmla="*/ 40320 w 417"/>
                <a:gd name="T33" fmla="*/ 147344 h 417"/>
                <a:gd name="T34" fmla="*/ 48474 w 417"/>
                <a:gd name="T35" fmla="*/ 178790 h 417"/>
                <a:gd name="T36" fmla="*/ 68407 w 417"/>
                <a:gd name="T37" fmla="*/ 186876 h 417"/>
                <a:gd name="T38" fmla="*/ 96495 w 417"/>
                <a:gd name="T39" fmla="*/ 167110 h 417"/>
                <a:gd name="T40" fmla="*/ 124583 w 417"/>
                <a:gd name="T41" fmla="*/ 186876 h 417"/>
                <a:gd name="T42" fmla="*/ 144516 w 417"/>
                <a:gd name="T43" fmla="*/ 178790 h 417"/>
                <a:gd name="T44" fmla="*/ 152671 w 417"/>
                <a:gd name="T45" fmla="*/ 147344 h 417"/>
                <a:gd name="T46" fmla="*/ 184836 w 417"/>
                <a:gd name="T47" fmla="*/ 139258 h 417"/>
                <a:gd name="T48" fmla="*/ 188460 w 417"/>
                <a:gd name="T49" fmla="*/ 119043 h 417"/>
                <a:gd name="T50" fmla="*/ 172604 w 417"/>
                <a:gd name="T51" fmla="*/ 91192 h 417"/>
                <a:gd name="T52" fmla="*/ 96495 w 417"/>
                <a:gd name="T53" fmla="*/ 131172 h 417"/>
                <a:gd name="T54" fmla="*/ 96495 w 417"/>
                <a:gd name="T55" fmla="*/ 131172 h 417"/>
                <a:gd name="T56" fmla="*/ 56629 w 417"/>
                <a:gd name="T57" fmla="*/ 91192 h 417"/>
                <a:gd name="T58" fmla="*/ 96495 w 417"/>
                <a:gd name="T59" fmla="*/ 51660 h 417"/>
                <a:gd name="T60" fmla="*/ 136362 w 417"/>
                <a:gd name="T61" fmla="*/ 91192 h 417"/>
                <a:gd name="T62" fmla="*/ 96495 w 417"/>
                <a:gd name="T63" fmla="*/ 131172 h 4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17" h="417">
                  <a:moveTo>
                    <a:pt x="381" y="203"/>
                  </a:moveTo>
                  <a:lnTo>
                    <a:pt x="381" y="203"/>
                  </a:lnTo>
                  <a:cubicBezTo>
                    <a:pt x="381" y="177"/>
                    <a:pt x="399" y="159"/>
                    <a:pt x="416" y="141"/>
                  </a:cubicBezTo>
                  <a:cubicBezTo>
                    <a:pt x="416" y="132"/>
                    <a:pt x="408" y="115"/>
                    <a:pt x="408" y="106"/>
                  </a:cubicBezTo>
                  <a:cubicBezTo>
                    <a:pt x="372" y="115"/>
                    <a:pt x="354" y="97"/>
                    <a:pt x="337" y="79"/>
                  </a:cubicBezTo>
                  <a:cubicBezTo>
                    <a:pt x="319" y="62"/>
                    <a:pt x="310" y="44"/>
                    <a:pt x="319" y="17"/>
                  </a:cubicBezTo>
                  <a:cubicBezTo>
                    <a:pt x="310" y="9"/>
                    <a:pt x="293" y="0"/>
                    <a:pt x="275" y="0"/>
                  </a:cubicBezTo>
                  <a:cubicBezTo>
                    <a:pt x="266" y="17"/>
                    <a:pt x="240" y="35"/>
                    <a:pt x="213" y="35"/>
                  </a:cubicBezTo>
                  <a:cubicBezTo>
                    <a:pt x="187" y="35"/>
                    <a:pt x="160" y="17"/>
                    <a:pt x="151" y="0"/>
                  </a:cubicBezTo>
                  <a:cubicBezTo>
                    <a:pt x="133" y="0"/>
                    <a:pt x="116" y="9"/>
                    <a:pt x="107" y="17"/>
                  </a:cubicBezTo>
                  <a:cubicBezTo>
                    <a:pt x="116" y="44"/>
                    <a:pt x="107" y="62"/>
                    <a:pt x="89" y="79"/>
                  </a:cubicBezTo>
                  <a:cubicBezTo>
                    <a:pt x="72" y="97"/>
                    <a:pt x="44" y="115"/>
                    <a:pt x="18" y="106"/>
                  </a:cubicBezTo>
                  <a:cubicBezTo>
                    <a:pt x="18" y="115"/>
                    <a:pt x="9" y="132"/>
                    <a:pt x="0" y="141"/>
                  </a:cubicBezTo>
                  <a:cubicBezTo>
                    <a:pt x="27" y="159"/>
                    <a:pt x="44" y="177"/>
                    <a:pt x="44" y="203"/>
                  </a:cubicBezTo>
                  <a:cubicBezTo>
                    <a:pt x="44" y="230"/>
                    <a:pt x="27" y="256"/>
                    <a:pt x="0" y="275"/>
                  </a:cubicBezTo>
                  <a:cubicBezTo>
                    <a:pt x="9" y="283"/>
                    <a:pt x="18" y="301"/>
                    <a:pt x="18" y="310"/>
                  </a:cubicBezTo>
                  <a:cubicBezTo>
                    <a:pt x="44" y="310"/>
                    <a:pt x="72" y="310"/>
                    <a:pt x="89" y="328"/>
                  </a:cubicBezTo>
                  <a:cubicBezTo>
                    <a:pt x="107" y="345"/>
                    <a:pt x="116" y="372"/>
                    <a:pt x="107" y="398"/>
                  </a:cubicBezTo>
                  <a:cubicBezTo>
                    <a:pt x="116" y="407"/>
                    <a:pt x="133" y="407"/>
                    <a:pt x="151" y="416"/>
                  </a:cubicBezTo>
                  <a:cubicBezTo>
                    <a:pt x="160" y="389"/>
                    <a:pt x="187" y="372"/>
                    <a:pt x="213" y="372"/>
                  </a:cubicBezTo>
                  <a:cubicBezTo>
                    <a:pt x="240" y="372"/>
                    <a:pt x="266" y="389"/>
                    <a:pt x="275" y="416"/>
                  </a:cubicBezTo>
                  <a:cubicBezTo>
                    <a:pt x="293" y="407"/>
                    <a:pt x="310" y="407"/>
                    <a:pt x="319" y="398"/>
                  </a:cubicBezTo>
                  <a:cubicBezTo>
                    <a:pt x="310" y="372"/>
                    <a:pt x="319" y="345"/>
                    <a:pt x="337" y="328"/>
                  </a:cubicBezTo>
                  <a:cubicBezTo>
                    <a:pt x="354" y="310"/>
                    <a:pt x="372" y="301"/>
                    <a:pt x="408" y="310"/>
                  </a:cubicBezTo>
                  <a:cubicBezTo>
                    <a:pt x="408" y="292"/>
                    <a:pt x="416" y="283"/>
                    <a:pt x="416" y="265"/>
                  </a:cubicBezTo>
                  <a:cubicBezTo>
                    <a:pt x="399" y="256"/>
                    <a:pt x="381" y="230"/>
                    <a:pt x="381" y="203"/>
                  </a:cubicBezTo>
                  <a:close/>
                  <a:moveTo>
                    <a:pt x="213" y="292"/>
                  </a:moveTo>
                  <a:lnTo>
                    <a:pt x="213" y="292"/>
                  </a:lnTo>
                  <a:cubicBezTo>
                    <a:pt x="160" y="292"/>
                    <a:pt x="125" y="256"/>
                    <a:pt x="125" y="203"/>
                  </a:cubicBezTo>
                  <a:cubicBezTo>
                    <a:pt x="125" y="159"/>
                    <a:pt x="160" y="115"/>
                    <a:pt x="213" y="115"/>
                  </a:cubicBezTo>
                  <a:cubicBezTo>
                    <a:pt x="266" y="115"/>
                    <a:pt x="301" y="159"/>
                    <a:pt x="301" y="203"/>
                  </a:cubicBezTo>
                  <a:cubicBezTo>
                    <a:pt x="301" y="256"/>
                    <a:pt x="266" y="292"/>
                    <a:pt x="213" y="292"/>
                  </a:cubicBezTo>
                  <a:close/>
                </a:path>
              </a:pathLst>
            </a:custGeom>
            <a:solidFill>
              <a:srgbClr val="92D050"/>
            </a:solid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grpSp>
      <p:cxnSp>
        <p:nvCxnSpPr>
          <p:cNvPr id="133" name="Straight Connector 132">
            <a:extLst>
              <a:ext uri="{FF2B5EF4-FFF2-40B4-BE49-F238E27FC236}">
                <a16:creationId xmlns:a16="http://schemas.microsoft.com/office/drawing/2014/main" id="{97C35B88-8C88-C245-8B68-384E77EBB2E4}"/>
              </a:ext>
            </a:extLst>
          </p:cNvPr>
          <p:cNvCxnSpPr>
            <a:cxnSpLocks/>
          </p:cNvCxnSpPr>
          <p:nvPr/>
        </p:nvCxnSpPr>
        <p:spPr>
          <a:xfrm>
            <a:off x="7853648" y="5101403"/>
            <a:ext cx="0" cy="289364"/>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57AC3106-2C93-284A-8220-EC9278DAE979}"/>
              </a:ext>
            </a:extLst>
          </p:cNvPr>
          <p:cNvSpPr txBox="1"/>
          <p:nvPr/>
        </p:nvSpPr>
        <p:spPr>
          <a:xfrm>
            <a:off x="7925905" y="4920080"/>
            <a:ext cx="818813" cy="400110"/>
          </a:xfrm>
          <a:prstGeom prst="rect">
            <a:avLst/>
          </a:prstGeom>
          <a:noFill/>
        </p:spPr>
        <p:txBody>
          <a:bodyPr wrap="square" rtlCol="0">
            <a:spAutoFit/>
          </a:bodyPr>
          <a:lstStyle/>
          <a:p>
            <a:r>
              <a:rPr lang="en-US" sz="2000" b="1" dirty="0">
                <a:solidFill>
                  <a:srgbClr val="92D050"/>
                </a:solidFill>
              </a:rPr>
              <a:t>2020</a:t>
            </a:r>
            <a:endParaRPr lang="en-GB" sz="2000" b="1" dirty="0">
              <a:solidFill>
                <a:srgbClr val="92D050"/>
              </a:solidFill>
            </a:endParaRPr>
          </a:p>
        </p:txBody>
      </p:sp>
      <p:sp>
        <p:nvSpPr>
          <p:cNvPr id="135" name="TextBox 134">
            <a:extLst>
              <a:ext uri="{FF2B5EF4-FFF2-40B4-BE49-F238E27FC236}">
                <a16:creationId xmlns:a16="http://schemas.microsoft.com/office/drawing/2014/main" id="{DFA96B19-EA6F-A741-A2F5-69AF7A61E91C}"/>
              </a:ext>
            </a:extLst>
          </p:cNvPr>
          <p:cNvSpPr txBox="1"/>
          <p:nvPr/>
        </p:nvSpPr>
        <p:spPr>
          <a:xfrm>
            <a:off x="7924720" y="5194632"/>
            <a:ext cx="4567953" cy="307777"/>
          </a:xfrm>
          <a:prstGeom prst="rect">
            <a:avLst/>
          </a:prstGeom>
          <a:noFill/>
        </p:spPr>
        <p:txBody>
          <a:bodyPr wrap="square" rtlCol="0">
            <a:spAutoFit/>
          </a:bodyPr>
          <a:lstStyle/>
          <a:p>
            <a:r>
              <a:rPr lang="en-US" sz="1400" dirty="0"/>
              <a:t>Mature in automated testing within our enterprise</a:t>
            </a:r>
          </a:p>
        </p:txBody>
      </p:sp>
    </p:spTree>
    <p:extLst>
      <p:ext uri="{BB962C8B-B14F-4D97-AF65-F5344CB8AC3E}">
        <p14:creationId xmlns:p14="http://schemas.microsoft.com/office/powerpoint/2010/main" val="4658000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light&#10;&#10;Description automatically generated">
            <a:extLst>
              <a:ext uri="{FF2B5EF4-FFF2-40B4-BE49-F238E27FC236}">
                <a16:creationId xmlns:a16="http://schemas.microsoft.com/office/drawing/2014/main" id="{324B9611-333C-BB47-8827-EB8271760F3D}"/>
              </a:ext>
            </a:extLst>
          </p:cNvPr>
          <p:cNvPicPr>
            <a:picLocks noChangeAspect="1"/>
          </p:cNvPicPr>
          <p:nvPr/>
        </p:nvPicPr>
        <p:blipFill>
          <a:blip r:embed="rId3"/>
          <a:stretch>
            <a:fillRect/>
          </a:stretch>
        </p:blipFill>
        <p:spPr>
          <a:xfrm>
            <a:off x="6445936" y="2364504"/>
            <a:ext cx="1335455" cy="4131065"/>
          </a:xfrm>
          <a:prstGeom prst="rect">
            <a:avLst/>
          </a:prstGeom>
        </p:spPr>
      </p:pic>
      <p:grpSp>
        <p:nvGrpSpPr>
          <p:cNvPr id="10" name="Group 9"/>
          <p:cNvGrpSpPr/>
          <p:nvPr/>
        </p:nvGrpSpPr>
        <p:grpSpPr>
          <a:xfrm>
            <a:off x="5543550" y="3038514"/>
            <a:ext cx="816271" cy="1610440"/>
            <a:chOff x="5732595" y="1773497"/>
            <a:chExt cx="1137880" cy="2152837"/>
          </a:xfrm>
        </p:grpSpPr>
        <p:grpSp>
          <p:nvGrpSpPr>
            <p:cNvPr id="90" name="Group 89"/>
            <p:cNvGrpSpPr/>
            <p:nvPr/>
          </p:nvGrpSpPr>
          <p:grpSpPr>
            <a:xfrm>
              <a:off x="5732595" y="1773497"/>
              <a:ext cx="1137880" cy="2152837"/>
              <a:chOff x="6940174" y="3246442"/>
              <a:chExt cx="1175340" cy="2223712"/>
            </a:xfrm>
          </p:grpSpPr>
          <p:grpSp>
            <p:nvGrpSpPr>
              <p:cNvPr id="91" name="Group 90"/>
              <p:cNvGrpSpPr/>
              <p:nvPr/>
            </p:nvGrpSpPr>
            <p:grpSpPr>
              <a:xfrm>
                <a:off x="6940174" y="3246442"/>
                <a:ext cx="1175340" cy="2192500"/>
                <a:chOff x="5455241" y="1480656"/>
                <a:chExt cx="1517619" cy="2830995"/>
              </a:xfrm>
            </p:grpSpPr>
            <p:grpSp>
              <p:nvGrpSpPr>
                <p:cNvPr id="93" name="Group 92"/>
                <p:cNvGrpSpPr/>
                <p:nvPr/>
              </p:nvGrpSpPr>
              <p:grpSpPr>
                <a:xfrm>
                  <a:off x="6083422" y="2925441"/>
                  <a:ext cx="246291" cy="1386210"/>
                  <a:chOff x="2641600" y="3431522"/>
                  <a:chExt cx="246291" cy="2446764"/>
                </a:xfrm>
              </p:grpSpPr>
              <p:sp>
                <p:nvSpPr>
                  <p:cNvPr id="96" name="Rectangle 95"/>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4" name="Flowchart: Connector 93"/>
                <p:cNvSpPr/>
                <p:nvPr/>
              </p:nvSpPr>
              <p:spPr>
                <a:xfrm>
                  <a:off x="5455241" y="1480656"/>
                  <a:ext cx="1517619" cy="1517619"/>
                </a:xfrm>
                <a:prstGeom prst="flowChartConnector">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Flowchart: Connector 94"/>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Oval 91"/>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8" name="Freeform 30"/>
            <p:cNvSpPr>
              <a:spLocks noChangeArrowheads="1"/>
            </p:cNvSpPr>
            <p:nvPr/>
          </p:nvSpPr>
          <p:spPr bwMode="auto">
            <a:xfrm>
              <a:off x="6078746" y="2124447"/>
              <a:ext cx="445580" cy="423301"/>
            </a:xfrm>
            <a:custGeom>
              <a:avLst/>
              <a:gdLst>
                <a:gd name="T0" fmla="*/ 59356 w 498"/>
                <a:gd name="T1" fmla="*/ 210688 h 470"/>
                <a:gd name="T2" fmla="*/ 59356 w 498"/>
                <a:gd name="T3" fmla="*/ 210688 h 470"/>
                <a:gd name="T4" fmla="*/ 83009 w 498"/>
                <a:gd name="T5" fmla="*/ 210688 h 470"/>
                <a:gd name="T6" fmla="*/ 130762 w 498"/>
                <a:gd name="T7" fmla="*/ 119045 h 470"/>
                <a:gd name="T8" fmla="*/ 190117 w 498"/>
                <a:gd name="T9" fmla="*/ 119045 h 470"/>
                <a:gd name="T10" fmla="*/ 221804 w 498"/>
                <a:gd name="T11" fmla="*/ 103322 h 470"/>
                <a:gd name="T12" fmla="*/ 190117 w 498"/>
                <a:gd name="T13" fmla="*/ 87599 h 470"/>
                <a:gd name="T14" fmla="*/ 130762 w 498"/>
                <a:gd name="T15" fmla="*/ 87599 h 470"/>
                <a:gd name="T16" fmla="*/ 83009 w 498"/>
                <a:gd name="T17" fmla="*/ 0 h 470"/>
                <a:gd name="T18" fmla="*/ 59356 w 498"/>
                <a:gd name="T19" fmla="*/ 0 h 470"/>
                <a:gd name="T20" fmla="*/ 87026 w 498"/>
                <a:gd name="T21" fmla="*/ 87599 h 470"/>
                <a:gd name="T22" fmla="*/ 47753 w 498"/>
                <a:gd name="T23" fmla="*/ 87599 h 470"/>
                <a:gd name="T24" fmla="*/ 23653 w 498"/>
                <a:gd name="T25" fmla="*/ 67384 h 470"/>
                <a:gd name="T26" fmla="*/ 0 w 498"/>
                <a:gd name="T27" fmla="*/ 67384 h 470"/>
                <a:gd name="T28" fmla="*/ 16066 w 498"/>
                <a:gd name="T29" fmla="*/ 103322 h 470"/>
                <a:gd name="T30" fmla="*/ 0 w 498"/>
                <a:gd name="T31" fmla="*/ 143304 h 470"/>
                <a:gd name="T32" fmla="*/ 23653 w 498"/>
                <a:gd name="T33" fmla="*/ 143304 h 470"/>
                <a:gd name="T34" fmla="*/ 47753 w 498"/>
                <a:gd name="T35" fmla="*/ 119045 h 470"/>
                <a:gd name="T36" fmla="*/ 87026 w 498"/>
                <a:gd name="T37" fmla="*/ 119045 h 470"/>
                <a:gd name="T38" fmla="*/ 59356 w 498"/>
                <a:gd name="T39" fmla="*/ 210688 h 4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498" h="470">
                  <a:moveTo>
                    <a:pt x="133" y="469"/>
                  </a:moveTo>
                  <a:lnTo>
                    <a:pt x="133" y="469"/>
                  </a:lnTo>
                  <a:cubicBezTo>
                    <a:pt x="186" y="469"/>
                    <a:pt x="186" y="469"/>
                    <a:pt x="186" y="469"/>
                  </a:cubicBezTo>
                  <a:cubicBezTo>
                    <a:pt x="293" y="265"/>
                    <a:pt x="293" y="265"/>
                    <a:pt x="293" y="265"/>
                  </a:cubicBezTo>
                  <a:cubicBezTo>
                    <a:pt x="426" y="265"/>
                    <a:pt x="426" y="265"/>
                    <a:pt x="426" y="265"/>
                  </a:cubicBezTo>
                  <a:cubicBezTo>
                    <a:pt x="426" y="265"/>
                    <a:pt x="497" y="265"/>
                    <a:pt x="497" y="230"/>
                  </a:cubicBezTo>
                  <a:cubicBezTo>
                    <a:pt x="497" y="195"/>
                    <a:pt x="426" y="195"/>
                    <a:pt x="426" y="195"/>
                  </a:cubicBezTo>
                  <a:cubicBezTo>
                    <a:pt x="293" y="195"/>
                    <a:pt x="293" y="195"/>
                    <a:pt x="293" y="195"/>
                  </a:cubicBezTo>
                  <a:cubicBezTo>
                    <a:pt x="186" y="0"/>
                    <a:pt x="186" y="0"/>
                    <a:pt x="186" y="0"/>
                  </a:cubicBezTo>
                  <a:cubicBezTo>
                    <a:pt x="133" y="0"/>
                    <a:pt x="133" y="0"/>
                    <a:pt x="133" y="0"/>
                  </a:cubicBezTo>
                  <a:cubicBezTo>
                    <a:pt x="195" y="195"/>
                    <a:pt x="195" y="195"/>
                    <a:pt x="195" y="195"/>
                  </a:cubicBezTo>
                  <a:cubicBezTo>
                    <a:pt x="107" y="195"/>
                    <a:pt x="107" y="195"/>
                    <a:pt x="107" y="195"/>
                  </a:cubicBezTo>
                  <a:cubicBezTo>
                    <a:pt x="53" y="150"/>
                    <a:pt x="53" y="150"/>
                    <a:pt x="53" y="150"/>
                  </a:cubicBezTo>
                  <a:cubicBezTo>
                    <a:pt x="0" y="150"/>
                    <a:pt x="0" y="150"/>
                    <a:pt x="0" y="150"/>
                  </a:cubicBezTo>
                  <a:cubicBezTo>
                    <a:pt x="36" y="230"/>
                    <a:pt x="36" y="230"/>
                    <a:pt x="36" y="230"/>
                  </a:cubicBezTo>
                  <a:cubicBezTo>
                    <a:pt x="0" y="319"/>
                    <a:pt x="0" y="319"/>
                    <a:pt x="0" y="319"/>
                  </a:cubicBezTo>
                  <a:cubicBezTo>
                    <a:pt x="53" y="319"/>
                    <a:pt x="53" y="319"/>
                    <a:pt x="53" y="319"/>
                  </a:cubicBezTo>
                  <a:cubicBezTo>
                    <a:pt x="107" y="265"/>
                    <a:pt x="107" y="265"/>
                    <a:pt x="107" y="265"/>
                  </a:cubicBezTo>
                  <a:cubicBezTo>
                    <a:pt x="195" y="265"/>
                    <a:pt x="195" y="265"/>
                    <a:pt x="195" y="265"/>
                  </a:cubicBezTo>
                  <a:lnTo>
                    <a:pt x="133" y="469"/>
                  </a:lnTo>
                </a:path>
              </a:pathLst>
            </a:custGeom>
            <a:solidFill>
              <a:schemeClr val="accent2"/>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grpSp>
      <p:grpSp>
        <p:nvGrpSpPr>
          <p:cNvPr id="9" name="Group 8"/>
          <p:cNvGrpSpPr/>
          <p:nvPr/>
        </p:nvGrpSpPr>
        <p:grpSpPr>
          <a:xfrm>
            <a:off x="-3003711" y="2139869"/>
            <a:ext cx="9381737" cy="5023175"/>
            <a:chOff x="-3859698" y="1008495"/>
            <a:chExt cx="11034207" cy="6676202"/>
          </a:xfrm>
        </p:grpSpPr>
        <p:grpSp>
          <p:nvGrpSpPr>
            <p:cNvPr id="29" name="Group 28"/>
            <p:cNvGrpSpPr/>
            <p:nvPr/>
          </p:nvGrpSpPr>
          <p:grpSpPr>
            <a:xfrm>
              <a:off x="-322072" y="1008495"/>
              <a:ext cx="7496581" cy="6676202"/>
              <a:chOff x="-322072" y="1008495"/>
              <a:chExt cx="7496581" cy="6676202"/>
            </a:xfrm>
          </p:grpSpPr>
          <p:sp>
            <p:nvSpPr>
              <p:cNvPr id="30" name="Freeform 169"/>
              <p:cNvSpPr>
                <a:spLocks/>
              </p:cNvSpPr>
              <p:nvPr/>
            </p:nvSpPr>
            <p:spPr bwMode="auto">
              <a:xfrm>
                <a:off x="-285249" y="1127529"/>
                <a:ext cx="7401525" cy="6557168"/>
              </a:xfrm>
              <a:custGeom>
                <a:avLst/>
                <a:gdLst>
                  <a:gd name="T0" fmla="*/ 3643 w 3657"/>
                  <a:gd name="T1" fmla="*/ 2265 h 3238"/>
                  <a:gd name="T2" fmla="*/ 3625 w 3657"/>
                  <a:gd name="T3" fmla="*/ 2395 h 3238"/>
                  <a:gd name="T4" fmla="*/ 3619 w 3657"/>
                  <a:gd name="T5" fmla="*/ 2445 h 3238"/>
                  <a:gd name="T6" fmla="*/ 3653 w 3657"/>
                  <a:gd name="T7" fmla="*/ 2937 h 3238"/>
                  <a:gd name="T8" fmla="*/ 3644 w 3657"/>
                  <a:gd name="T9" fmla="*/ 3018 h 3238"/>
                  <a:gd name="T10" fmla="*/ 3583 w 3657"/>
                  <a:gd name="T11" fmla="*/ 3005 h 3238"/>
                  <a:gd name="T12" fmla="*/ 3514 w 3657"/>
                  <a:gd name="T13" fmla="*/ 2981 h 3238"/>
                  <a:gd name="T14" fmla="*/ 3361 w 3657"/>
                  <a:gd name="T15" fmla="*/ 3013 h 3238"/>
                  <a:gd name="T16" fmla="*/ 3118 w 3657"/>
                  <a:gd name="T17" fmla="*/ 3109 h 3238"/>
                  <a:gd name="T18" fmla="*/ 3066 w 3657"/>
                  <a:gd name="T19" fmla="*/ 3095 h 3238"/>
                  <a:gd name="T20" fmla="*/ 3023 w 3657"/>
                  <a:gd name="T21" fmla="*/ 3068 h 3238"/>
                  <a:gd name="T22" fmla="*/ 2804 w 3657"/>
                  <a:gd name="T23" fmla="*/ 3054 h 3238"/>
                  <a:gd name="T24" fmla="*/ 2732 w 3657"/>
                  <a:gd name="T25" fmla="*/ 3085 h 3238"/>
                  <a:gd name="T26" fmla="*/ 2197 w 3657"/>
                  <a:gd name="T27" fmla="*/ 2960 h 3238"/>
                  <a:gd name="T28" fmla="*/ 1900 w 3657"/>
                  <a:gd name="T29" fmla="*/ 2963 h 3238"/>
                  <a:gd name="T30" fmla="*/ 1829 w 3657"/>
                  <a:gd name="T31" fmla="*/ 2968 h 3238"/>
                  <a:gd name="T32" fmla="*/ 1696 w 3657"/>
                  <a:gd name="T33" fmla="*/ 2901 h 3238"/>
                  <a:gd name="T34" fmla="*/ 2030 w 3657"/>
                  <a:gd name="T35" fmla="*/ 2641 h 3238"/>
                  <a:gd name="T36" fmla="*/ 2094 w 3657"/>
                  <a:gd name="T37" fmla="*/ 2587 h 3238"/>
                  <a:gd name="T38" fmla="*/ 2154 w 3657"/>
                  <a:gd name="T39" fmla="*/ 2530 h 3238"/>
                  <a:gd name="T40" fmla="*/ 2292 w 3657"/>
                  <a:gd name="T41" fmla="*/ 2330 h 3238"/>
                  <a:gd name="T42" fmla="*/ 2324 w 3657"/>
                  <a:gd name="T43" fmla="*/ 2249 h 3238"/>
                  <a:gd name="T44" fmla="*/ 2349 w 3657"/>
                  <a:gd name="T45" fmla="*/ 1866 h 3238"/>
                  <a:gd name="T46" fmla="*/ 1824 w 3657"/>
                  <a:gd name="T47" fmla="*/ 1548 h 3238"/>
                  <a:gd name="T48" fmla="*/ 1060 w 3657"/>
                  <a:gd name="T49" fmla="*/ 1492 h 3238"/>
                  <a:gd name="T50" fmla="*/ 263 w 3657"/>
                  <a:gd name="T51" fmla="*/ 1128 h 3238"/>
                  <a:gd name="T52" fmla="*/ 258 w 3657"/>
                  <a:gd name="T53" fmla="*/ 997 h 3238"/>
                  <a:gd name="T54" fmla="*/ 317 w 3657"/>
                  <a:gd name="T55" fmla="*/ 881 h 3238"/>
                  <a:gd name="T56" fmla="*/ 738 w 3657"/>
                  <a:gd name="T57" fmla="*/ 631 h 3238"/>
                  <a:gd name="T58" fmla="*/ 915 w 3657"/>
                  <a:gd name="T59" fmla="*/ 576 h 3238"/>
                  <a:gd name="T60" fmla="*/ 1225 w 3657"/>
                  <a:gd name="T61" fmla="*/ 404 h 3238"/>
                  <a:gd name="T62" fmla="*/ 1170 w 3657"/>
                  <a:gd name="T63" fmla="*/ 345 h 3238"/>
                  <a:gd name="T64" fmla="*/ 772 w 3657"/>
                  <a:gd name="T65" fmla="*/ 259 h 3238"/>
                  <a:gd name="T66" fmla="*/ 335 w 3657"/>
                  <a:gd name="T67" fmla="*/ 238 h 3238"/>
                  <a:gd name="T68" fmla="*/ 78 w 3657"/>
                  <a:gd name="T69" fmla="*/ 227 h 3238"/>
                  <a:gd name="T70" fmla="*/ 49 w 3657"/>
                  <a:gd name="T71" fmla="*/ 127 h 3238"/>
                  <a:gd name="T72" fmla="*/ 25 w 3657"/>
                  <a:gd name="T73" fmla="*/ 67 h 3238"/>
                  <a:gd name="T74" fmla="*/ 7 w 3657"/>
                  <a:gd name="T75" fmla="*/ 15 h 3238"/>
                  <a:gd name="T76" fmla="*/ 92 w 3657"/>
                  <a:gd name="T77" fmla="*/ 2 h 3238"/>
                  <a:gd name="T78" fmla="*/ 114 w 3657"/>
                  <a:gd name="T79" fmla="*/ 3 h 3238"/>
                  <a:gd name="T80" fmla="*/ 361 w 3657"/>
                  <a:gd name="T81" fmla="*/ 10 h 3238"/>
                  <a:gd name="T82" fmla="*/ 851 w 3657"/>
                  <a:gd name="T83" fmla="*/ 65 h 3238"/>
                  <a:gd name="T84" fmla="*/ 865 w 3657"/>
                  <a:gd name="T85" fmla="*/ 67 h 3238"/>
                  <a:gd name="T86" fmla="*/ 1055 w 3657"/>
                  <a:gd name="T87" fmla="*/ 95 h 3238"/>
                  <a:gd name="T88" fmla="*/ 1450 w 3657"/>
                  <a:gd name="T89" fmla="*/ 183 h 3238"/>
                  <a:gd name="T90" fmla="*/ 1733 w 3657"/>
                  <a:gd name="T91" fmla="*/ 524 h 3238"/>
                  <a:gd name="T92" fmla="*/ 1362 w 3657"/>
                  <a:gd name="T93" fmla="*/ 752 h 3238"/>
                  <a:gd name="T94" fmla="*/ 933 w 3657"/>
                  <a:gd name="T95" fmla="*/ 921 h 3238"/>
                  <a:gd name="T96" fmla="*/ 958 w 3657"/>
                  <a:gd name="T97" fmla="*/ 1052 h 3238"/>
                  <a:gd name="T98" fmla="*/ 1477 w 3657"/>
                  <a:gd name="T99" fmla="*/ 1131 h 3238"/>
                  <a:gd name="T100" fmla="*/ 1552 w 3657"/>
                  <a:gd name="T101" fmla="*/ 1131 h 3238"/>
                  <a:gd name="T102" fmla="*/ 1751 w 3657"/>
                  <a:gd name="T103" fmla="*/ 1129 h 3238"/>
                  <a:gd name="T104" fmla="*/ 2044 w 3657"/>
                  <a:gd name="T105" fmla="*/ 1128 h 3238"/>
                  <a:gd name="T106" fmla="*/ 3624 w 3657"/>
                  <a:gd name="T107" fmla="*/ 2178 h 3238"/>
                  <a:gd name="T108" fmla="*/ 3643 w 3657"/>
                  <a:gd name="T109" fmla="*/ 2265 h 3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57" h="3238">
                    <a:moveTo>
                      <a:pt x="3643" y="2265"/>
                    </a:moveTo>
                    <a:cubicBezTo>
                      <a:pt x="3643" y="2265"/>
                      <a:pt x="3635" y="2320"/>
                      <a:pt x="3625" y="2395"/>
                    </a:cubicBezTo>
                    <a:cubicBezTo>
                      <a:pt x="3623" y="2411"/>
                      <a:pt x="3621" y="2427"/>
                      <a:pt x="3619" y="2445"/>
                    </a:cubicBezTo>
                    <a:cubicBezTo>
                      <a:pt x="3587" y="2607"/>
                      <a:pt x="3643" y="2769"/>
                      <a:pt x="3653" y="2937"/>
                    </a:cubicBezTo>
                    <a:cubicBezTo>
                      <a:pt x="3655" y="2967"/>
                      <a:pt x="3657" y="3000"/>
                      <a:pt x="3644" y="3018"/>
                    </a:cubicBezTo>
                    <a:cubicBezTo>
                      <a:pt x="3635" y="3032"/>
                      <a:pt x="3603" y="3014"/>
                      <a:pt x="3583" y="3005"/>
                    </a:cubicBezTo>
                    <a:cubicBezTo>
                      <a:pt x="3560" y="2996"/>
                      <a:pt x="3537" y="2987"/>
                      <a:pt x="3514" y="2981"/>
                    </a:cubicBezTo>
                    <a:cubicBezTo>
                      <a:pt x="3458" y="2967"/>
                      <a:pt x="3408" y="2988"/>
                      <a:pt x="3361" y="3013"/>
                    </a:cubicBezTo>
                    <a:cubicBezTo>
                      <a:pt x="3281" y="3058"/>
                      <a:pt x="3207" y="3118"/>
                      <a:pt x="3118" y="3109"/>
                    </a:cubicBezTo>
                    <a:cubicBezTo>
                      <a:pt x="3099" y="3108"/>
                      <a:pt x="3082" y="3103"/>
                      <a:pt x="3066" y="3095"/>
                    </a:cubicBezTo>
                    <a:cubicBezTo>
                      <a:pt x="3050" y="3088"/>
                      <a:pt x="3036" y="3079"/>
                      <a:pt x="3023" y="3068"/>
                    </a:cubicBezTo>
                    <a:cubicBezTo>
                      <a:pt x="2949" y="3020"/>
                      <a:pt x="2876" y="3028"/>
                      <a:pt x="2804" y="3054"/>
                    </a:cubicBezTo>
                    <a:cubicBezTo>
                      <a:pt x="2779" y="3063"/>
                      <a:pt x="2755" y="3074"/>
                      <a:pt x="2732" y="3085"/>
                    </a:cubicBezTo>
                    <a:cubicBezTo>
                      <a:pt x="2552" y="3238"/>
                      <a:pt x="2332" y="3162"/>
                      <a:pt x="2197" y="2960"/>
                    </a:cubicBezTo>
                    <a:cubicBezTo>
                      <a:pt x="2137" y="2872"/>
                      <a:pt x="1997" y="2937"/>
                      <a:pt x="1900" y="2963"/>
                    </a:cubicBezTo>
                    <a:cubicBezTo>
                      <a:pt x="1876" y="2968"/>
                      <a:pt x="1852" y="2970"/>
                      <a:pt x="1829" y="2968"/>
                    </a:cubicBezTo>
                    <a:cubicBezTo>
                      <a:pt x="1782" y="2964"/>
                      <a:pt x="1738" y="2945"/>
                      <a:pt x="1696" y="2901"/>
                    </a:cubicBezTo>
                    <a:cubicBezTo>
                      <a:pt x="1798" y="2809"/>
                      <a:pt x="1920" y="2729"/>
                      <a:pt x="2030" y="2641"/>
                    </a:cubicBezTo>
                    <a:cubicBezTo>
                      <a:pt x="2052" y="2623"/>
                      <a:pt x="2073" y="2605"/>
                      <a:pt x="2094" y="2587"/>
                    </a:cubicBezTo>
                    <a:cubicBezTo>
                      <a:pt x="2115" y="2568"/>
                      <a:pt x="2135" y="2550"/>
                      <a:pt x="2154" y="2530"/>
                    </a:cubicBezTo>
                    <a:cubicBezTo>
                      <a:pt x="2211" y="2471"/>
                      <a:pt x="2259" y="2406"/>
                      <a:pt x="2292" y="2330"/>
                    </a:cubicBezTo>
                    <a:cubicBezTo>
                      <a:pt x="2304" y="2303"/>
                      <a:pt x="2315" y="2277"/>
                      <a:pt x="2324" y="2249"/>
                    </a:cubicBezTo>
                    <a:cubicBezTo>
                      <a:pt x="2373" y="2114"/>
                      <a:pt x="2388" y="1973"/>
                      <a:pt x="2349" y="1866"/>
                    </a:cubicBezTo>
                    <a:cubicBezTo>
                      <a:pt x="2274" y="1654"/>
                      <a:pt x="2096" y="1579"/>
                      <a:pt x="1824" y="1548"/>
                    </a:cubicBezTo>
                    <a:cubicBezTo>
                      <a:pt x="1572" y="1519"/>
                      <a:pt x="1312" y="1523"/>
                      <a:pt x="1060" y="1492"/>
                    </a:cubicBezTo>
                    <a:cubicBezTo>
                      <a:pt x="771" y="1456"/>
                      <a:pt x="342" y="1382"/>
                      <a:pt x="263" y="1128"/>
                    </a:cubicBezTo>
                    <a:cubicBezTo>
                      <a:pt x="249" y="1082"/>
                      <a:pt x="248" y="1039"/>
                      <a:pt x="258" y="997"/>
                    </a:cubicBezTo>
                    <a:cubicBezTo>
                      <a:pt x="268" y="956"/>
                      <a:pt x="289" y="917"/>
                      <a:pt x="317" y="881"/>
                    </a:cubicBezTo>
                    <a:cubicBezTo>
                      <a:pt x="426" y="756"/>
                      <a:pt x="582" y="684"/>
                      <a:pt x="738" y="631"/>
                    </a:cubicBezTo>
                    <a:cubicBezTo>
                      <a:pt x="796" y="611"/>
                      <a:pt x="856" y="593"/>
                      <a:pt x="915" y="576"/>
                    </a:cubicBezTo>
                    <a:cubicBezTo>
                      <a:pt x="985" y="556"/>
                      <a:pt x="1261" y="511"/>
                      <a:pt x="1225" y="404"/>
                    </a:cubicBezTo>
                    <a:cubicBezTo>
                      <a:pt x="1216" y="378"/>
                      <a:pt x="1195" y="358"/>
                      <a:pt x="1170" y="345"/>
                    </a:cubicBezTo>
                    <a:cubicBezTo>
                      <a:pt x="1049" y="284"/>
                      <a:pt x="907" y="268"/>
                      <a:pt x="772" y="259"/>
                    </a:cubicBezTo>
                    <a:cubicBezTo>
                      <a:pt x="627" y="249"/>
                      <a:pt x="481" y="244"/>
                      <a:pt x="335" y="238"/>
                    </a:cubicBezTo>
                    <a:cubicBezTo>
                      <a:pt x="316" y="237"/>
                      <a:pt x="78" y="213"/>
                      <a:pt x="78" y="227"/>
                    </a:cubicBezTo>
                    <a:cubicBezTo>
                      <a:pt x="77" y="187"/>
                      <a:pt x="66" y="163"/>
                      <a:pt x="49" y="127"/>
                    </a:cubicBezTo>
                    <a:cubicBezTo>
                      <a:pt x="39" y="108"/>
                      <a:pt x="34" y="86"/>
                      <a:pt x="25" y="67"/>
                    </a:cubicBezTo>
                    <a:cubicBezTo>
                      <a:pt x="18" y="53"/>
                      <a:pt x="0" y="32"/>
                      <a:pt x="7" y="15"/>
                    </a:cubicBezTo>
                    <a:cubicBezTo>
                      <a:pt x="14" y="0"/>
                      <a:pt x="61" y="1"/>
                      <a:pt x="92" y="2"/>
                    </a:cubicBezTo>
                    <a:cubicBezTo>
                      <a:pt x="101" y="3"/>
                      <a:pt x="109" y="3"/>
                      <a:pt x="114" y="3"/>
                    </a:cubicBezTo>
                    <a:cubicBezTo>
                      <a:pt x="196" y="2"/>
                      <a:pt x="278" y="5"/>
                      <a:pt x="361" y="10"/>
                    </a:cubicBezTo>
                    <a:cubicBezTo>
                      <a:pt x="525" y="21"/>
                      <a:pt x="688" y="43"/>
                      <a:pt x="851" y="65"/>
                    </a:cubicBezTo>
                    <a:cubicBezTo>
                      <a:pt x="856" y="65"/>
                      <a:pt x="861" y="66"/>
                      <a:pt x="865" y="67"/>
                    </a:cubicBezTo>
                    <a:cubicBezTo>
                      <a:pt x="931" y="75"/>
                      <a:pt x="994" y="85"/>
                      <a:pt x="1055" y="95"/>
                    </a:cubicBezTo>
                    <a:cubicBezTo>
                      <a:pt x="1235" y="124"/>
                      <a:pt x="1389" y="157"/>
                      <a:pt x="1450" y="183"/>
                    </a:cubicBezTo>
                    <a:cubicBezTo>
                      <a:pt x="1623" y="256"/>
                      <a:pt x="1802" y="347"/>
                      <a:pt x="1733" y="524"/>
                    </a:cubicBezTo>
                    <a:cubicBezTo>
                      <a:pt x="1683" y="653"/>
                      <a:pt x="1520" y="713"/>
                      <a:pt x="1362" y="752"/>
                    </a:cubicBezTo>
                    <a:cubicBezTo>
                      <a:pt x="1249" y="780"/>
                      <a:pt x="990" y="833"/>
                      <a:pt x="933" y="921"/>
                    </a:cubicBezTo>
                    <a:cubicBezTo>
                      <a:pt x="905" y="964"/>
                      <a:pt x="918" y="1018"/>
                      <a:pt x="958" y="1052"/>
                    </a:cubicBezTo>
                    <a:cubicBezTo>
                      <a:pt x="1055" y="1133"/>
                      <a:pt x="1308" y="1132"/>
                      <a:pt x="1477" y="1131"/>
                    </a:cubicBezTo>
                    <a:cubicBezTo>
                      <a:pt x="1505" y="1131"/>
                      <a:pt x="1530" y="1131"/>
                      <a:pt x="1552" y="1131"/>
                    </a:cubicBezTo>
                    <a:cubicBezTo>
                      <a:pt x="1618" y="1132"/>
                      <a:pt x="1684" y="1130"/>
                      <a:pt x="1751" y="1129"/>
                    </a:cubicBezTo>
                    <a:cubicBezTo>
                      <a:pt x="1849" y="1126"/>
                      <a:pt x="1947" y="1123"/>
                      <a:pt x="2044" y="1128"/>
                    </a:cubicBezTo>
                    <a:cubicBezTo>
                      <a:pt x="2836" y="1171"/>
                      <a:pt x="3481" y="1598"/>
                      <a:pt x="3624" y="2178"/>
                    </a:cubicBezTo>
                    <a:cubicBezTo>
                      <a:pt x="3630" y="2203"/>
                      <a:pt x="3637" y="2233"/>
                      <a:pt x="3643" y="2265"/>
                    </a:cubicBezTo>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72"/>
              <p:cNvSpPr>
                <a:spLocks/>
              </p:cNvSpPr>
              <p:nvPr/>
            </p:nvSpPr>
            <p:spPr bwMode="auto">
              <a:xfrm>
                <a:off x="-285249" y="1100982"/>
                <a:ext cx="7401525" cy="6567444"/>
              </a:xfrm>
              <a:custGeom>
                <a:avLst/>
                <a:gdLst>
                  <a:gd name="T0" fmla="*/ 3643 w 3657"/>
                  <a:gd name="T1" fmla="*/ 2270 h 3243"/>
                  <a:gd name="T2" fmla="*/ 3625 w 3657"/>
                  <a:gd name="T3" fmla="*/ 2400 h 3243"/>
                  <a:gd name="T4" fmla="*/ 3619 w 3657"/>
                  <a:gd name="T5" fmla="*/ 2450 h 3243"/>
                  <a:gd name="T6" fmla="*/ 3653 w 3657"/>
                  <a:gd name="T7" fmla="*/ 2942 h 3243"/>
                  <a:gd name="T8" fmla="*/ 3644 w 3657"/>
                  <a:gd name="T9" fmla="*/ 3023 h 3243"/>
                  <a:gd name="T10" fmla="*/ 3583 w 3657"/>
                  <a:gd name="T11" fmla="*/ 3010 h 3243"/>
                  <a:gd name="T12" fmla="*/ 3514 w 3657"/>
                  <a:gd name="T13" fmla="*/ 2986 h 3243"/>
                  <a:gd name="T14" fmla="*/ 3361 w 3657"/>
                  <a:gd name="T15" fmla="*/ 3018 h 3243"/>
                  <a:gd name="T16" fmla="*/ 3118 w 3657"/>
                  <a:gd name="T17" fmla="*/ 3114 h 3243"/>
                  <a:gd name="T18" fmla="*/ 3066 w 3657"/>
                  <a:gd name="T19" fmla="*/ 3100 h 3243"/>
                  <a:gd name="T20" fmla="*/ 3023 w 3657"/>
                  <a:gd name="T21" fmla="*/ 3073 h 3243"/>
                  <a:gd name="T22" fmla="*/ 2804 w 3657"/>
                  <a:gd name="T23" fmla="*/ 3059 h 3243"/>
                  <a:gd name="T24" fmla="*/ 2732 w 3657"/>
                  <a:gd name="T25" fmla="*/ 3090 h 3243"/>
                  <a:gd name="T26" fmla="*/ 2197 w 3657"/>
                  <a:gd name="T27" fmla="*/ 2964 h 3243"/>
                  <a:gd name="T28" fmla="*/ 1900 w 3657"/>
                  <a:gd name="T29" fmla="*/ 2968 h 3243"/>
                  <a:gd name="T30" fmla="*/ 1829 w 3657"/>
                  <a:gd name="T31" fmla="*/ 2973 h 3243"/>
                  <a:gd name="T32" fmla="*/ 1696 w 3657"/>
                  <a:gd name="T33" fmla="*/ 2906 h 3243"/>
                  <a:gd name="T34" fmla="*/ 2030 w 3657"/>
                  <a:gd name="T35" fmla="*/ 2646 h 3243"/>
                  <a:gd name="T36" fmla="*/ 2094 w 3657"/>
                  <a:gd name="T37" fmla="*/ 2592 h 3243"/>
                  <a:gd name="T38" fmla="*/ 2154 w 3657"/>
                  <a:gd name="T39" fmla="*/ 2535 h 3243"/>
                  <a:gd name="T40" fmla="*/ 2292 w 3657"/>
                  <a:gd name="T41" fmla="*/ 2335 h 3243"/>
                  <a:gd name="T42" fmla="*/ 2324 w 3657"/>
                  <a:gd name="T43" fmla="*/ 2254 h 3243"/>
                  <a:gd name="T44" fmla="*/ 2349 w 3657"/>
                  <a:gd name="T45" fmla="*/ 1871 h 3243"/>
                  <a:gd name="T46" fmla="*/ 1824 w 3657"/>
                  <a:gd name="T47" fmla="*/ 1553 h 3243"/>
                  <a:gd name="T48" fmla="*/ 1060 w 3657"/>
                  <a:gd name="T49" fmla="*/ 1497 h 3243"/>
                  <a:gd name="T50" fmla="*/ 263 w 3657"/>
                  <a:gd name="T51" fmla="*/ 1133 h 3243"/>
                  <a:gd name="T52" fmla="*/ 258 w 3657"/>
                  <a:gd name="T53" fmla="*/ 1002 h 3243"/>
                  <a:gd name="T54" fmla="*/ 317 w 3657"/>
                  <a:gd name="T55" fmla="*/ 886 h 3243"/>
                  <a:gd name="T56" fmla="*/ 738 w 3657"/>
                  <a:gd name="T57" fmla="*/ 636 h 3243"/>
                  <a:gd name="T58" fmla="*/ 915 w 3657"/>
                  <a:gd name="T59" fmla="*/ 581 h 3243"/>
                  <a:gd name="T60" fmla="*/ 1225 w 3657"/>
                  <a:gd name="T61" fmla="*/ 409 h 3243"/>
                  <a:gd name="T62" fmla="*/ 1170 w 3657"/>
                  <a:gd name="T63" fmla="*/ 350 h 3243"/>
                  <a:gd name="T64" fmla="*/ 772 w 3657"/>
                  <a:gd name="T65" fmla="*/ 264 h 3243"/>
                  <a:gd name="T66" fmla="*/ 335 w 3657"/>
                  <a:gd name="T67" fmla="*/ 243 h 3243"/>
                  <a:gd name="T68" fmla="*/ 78 w 3657"/>
                  <a:gd name="T69" fmla="*/ 232 h 3243"/>
                  <a:gd name="T70" fmla="*/ 49 w 3657"/>
                  <a:gd name="T71" fmla="*/ 132 h 3243"/>
                  <a:gd name="T72" fmla="*/ 25 w 3657"/>
                  <a:gd name="T73" fmla="*/ 72 h 3243"/>
                  <a:gd name="T74" fmla="*/ 7 w 3657"/>
                  <a:gd name="T75" fmla="*/ 20 h 3243"/>
                  <a:gd name="T76" fmla="*/ 114 w 3657"/>
                  <a:gd name="T77" fmla="*/ 8 h 3243"/>
                  <a:gd name="T78" fmla="*/ 361 w 3657"/>
                  <a:gd name="T79" fmla="*/ 15 h 3243"/>
                  <a:gd name="T80" fmla="*/ 851 w 3657"/>
                  <a:gd name="T81" fmla="*/ 70 h 3243"/>
                  <a:gd name="T82" fmla="*/ 865 w 3657"/>
                  <a:gd name="T83" fmla="*/ 72 h 3243"/>
                  <a:gd name="T84" fmla="*/ 1055 w 3657"/>
                  <a:gd name="T85" fmla="*/ 100 h 3243"/>
                  <a:gd name="T86" fmla="*/ 1450 w 3657"/>
                  <a:gd name="T87" fmla="*/ 187 h 3243"/>
                  <a:gd name="T88" fmla="*/ 1733 w 3657"/>
                  <a:gd name="T89" fmla="*/ 529 h 3243"/>
                  <a:gd name="T90" fmla="*/ 1362 w 3657"/>
                  <a:gd name="T91" fmla="*/ 757 h 3243"/>
                  <a:gd name="T92" fmla="*/ 933 w 3657"/>
                  <a:gd name="T93" fmla="*/ 926 h 3243"/>
                  <a:gd name="T94" fmla="*/ 958 w 3657"/>
                  <a:gd name="T95" fmla="*/ 1057 h 3243"/>
                  <a:gd name="T96" fmla="*/ 1552 w 3657"/>
                  <a:gd name="T97" fmla="*/ 1136 h 3243"/>
                  <a:gd name="T98" fmla="*/ 2044 w 3657"/>
                  <a:gd name="T99" fmla="*/ 1133 h 3243"/>
                  <a:gd name="T100" fmla="*/ 3624 w 3657"/>
                  <a:gd name="T101" fmla="*/ 2183 h 3243"/>
                  <a:gd name="T102" fmla="*/ 3643 w 3657"/>
                  <a:gd name="T103" fmla="*/ 227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57" h="3243">
                    <a:moveTo>
                      <a:pt x="3643" y="2270"/>
                    </a:moveTo>
                    <a:cubicBezTo>
                      <a:pt x="3643" y="2270"/>
                      <a:pt x="3635" y="2325"/>
                      <a:pt x="3625" y="2400"/>
                    </a:cubicBezTo>
                    <a:cubicBezTo>
                      <a:pt x="3623" y="2416"/>
                      <a:pt x="3621" y="2432"/>
                      <a:pt x="3619" y="2450"/>
                    </a:cubicBezTo>
                    <a:cubicBezTo>
                      <a:pt x="3587" y="2612"/>
                      <a:pt x="3643" y="2774"/>
                      <a:pt x="3653" y="2942"/>
                    </a:cubicBezTo>
                    <a:cubicBezTo>
                      <a:pt x="3655" y="2972"/>
                      <a:pt x="3657" y="3005"/>
                      <a:pt x="3644" y="3023"/>
                    </a:cubicBezTo>
                    <a:cubicBezTo>
                      <a:pt x="3635" y="3037"/>
                      <a:pt x="3603" y="3019"/>
                      <a:pt x="3583" y="3010"/>
                    </a:cubicBezTo>
                    <a:cubicBezTo>
                      <a:pt x="3560" y="3001"/>
                      <a:pt x="3537" y="2992"/>
                      <a:pt x="3514" y="2986"/>
                    </a:cubicBezTo>
                    <a:cubicBezTo>
                      <a:pt x="3458" y="2972"/>
                      <a:pt x="3408" y="2993"/>
                      <a:pt x="3361" y="3018"/>
                    </a:cubicBezTo>
                    <a:cubicBezTo>
                      <a:pt x="3281" y="3063"/>
                      <a:pt x="3207" y="3123"/>
                      <a:pt x="3118" y="3114"/>
                    </a:cubicBezTo>
                    <a:cubicBezTo>
                      <a:pt x="3099" y="3113"/>
                      <a:pt x="3082" y="3108"/>
                      <a:pt x="3066" y="3100"/>
                    </a:cubicBezTo>
                    <a:cubicBezTo>
                      <a:pt x="3050" y="3093"/>
                      <a:pt x="3036" y="3084"/>
                      <a:pt x="3023" y="3073"/>
                    </a:cubicBezTo>
                    <a:cubicBezTo>
                      <a:pt x="2949" y="3025"/>
                      <a:pt x="2876" y="3033"/>
                      <a:pt x="2804" y="3059"/>
                    </a:cubicBezTo>
                    <a:cubicBezTo>
                      <a:pt x="2779" y="3068"/>
                      <a:pt x="2755" y="3079"/>
                      <a:pt x="2732" y="3090"/>
                    </a:cubicBezTo>
                    <a:cubicBezTo>
                      <a:pt x="2552" y="3243"/>
                      <a:pt x="2332" y="3167"/>
                      <a:pt x="2197" y="2964"/>
                    </a:cubicBezTo>
                    <a:cubicBezTo>
                      <a:pt x="2137" y="2877"/>
                      <a:pt x="1997" y="2942"/>
                      <a:pt x="1900" y="2968"/>
                    </a:cubicBezTo>
                    <a:cubicBezTo>
                      <a:pt x="1876" y="2973"/>
                      <a:pt x="1852" y="2975"/>
                      <a:pt x="1829" y="2973"/>
                    </a:cubicBezTo>
                    <a:cubicBezTo>
                      <a:pt x="1782" y="2969"/>
                      <a:pt x="1738" y="2950"/>
                      <a:pt x="1696" y="2906"/>
                    </a:cubicBezTo>
                    <a:cubicBezTo>
                      <a:pt x="1798" y="2814"/>
                      <a:pt x="1920" y="2734"/>
                      <a:pt x="2030" y="2646"/>
                    </a:cubicBezTo>
                    <a:cubicBezTo>
                      <a:pt x="2052" y="2628"/>
                      <a:pt x="2073" y="2610"/>
                      <a:pt x="2094" y="2592"/>
                    </a:cubicBezTo>
                    <a:cubicBezTo>
                      <a:pt x="2115" y="2573"/>
                      <a:pt x="2135" y="2554"/>
                      <a:pt x="2154" y="2535"/>
                    </a:cubicBezTo>
                    <a:cubicBezTo>
                      <a:pt x="2211" y="2476"/>
                      <a:pt x="2259" y="2411"/>
                      <a:pt x="2292" y="2335"/>
                    </a:cubicBezTo>
                    <a:cubicBezTo>
                      <a:pt x="2304" y="2308"/>
                      <a:pt x="2315" y="2281"/>
                      <a:pt x="2324" y="2254"/>
                    </a:cubicBezTo>
                    <a:cubicBezTo>
                      <a:pt x="2373" y="2119"/>
                      <a:pt x="2388" y="1978"/>
                      <a:pt x="2349" y="1871"/>
                    </a:cubicBezTo>
                    <a:cubicBezTo>
                      <a:pt x="2274" y="1659"/>
                      <a:pt x="2096" y="1584"/>
                      <a:pt x="1824" y="1553"/>
                    </a:cubicBezTo>
                    <a:cubicBezTo>
                      <a:pt x="1572" y="1524"/>
                      <a:pt x="1312" y="1528"/>
                      <a:pt x="1060" y="1497"/>
                    </a:cubicBezTo>
                    <a:cubicBezTo>
                      <a:pt x="771" y="1461"/>
                      <a:pt x="342" y="1387"/>
                      <a:pt x="263" y="1133"/>
                    </a:cubicBezTo>
                    <a:cubicBezTo>
                      <a:pt x="249" y="1087"/>
                      <a:pt x="248" y="1043"/>
                      <a:pt x="258" y="1002"/>
                    </a:cubicBezTo>
                    <a:cubicBezTo>
                      <a:pt x="268" y="961"/>
                      <a:pt x="289" y="922"/>
                      <a:pt x="317" y="886"/>
                    </a:cubicBezTo>
                    <a:cubicBezTo>
                      <a:pt x="426" y="761"/>
                      <a:pt x="582" y="689"/>
                      <a:pt x="738" y="636"/>
                    </a:cubicBezTo>
                    <a:cubicBezTo>
                      <a:pt x="796" y="615"/>
                      <a:pt x="856" y="598"/>
                      <a:pt x="915" y="581"/>
                    </a:cubicBezTo>
                    <a:cubicBezTo>
                      <a:pt x="985" y="561"/>
                      <a:pt x="1261" y="516"/>
                      <a:pt x="1225" y="409"/>
                    </a:cubicBezTo>
                    <a:cubicBezTo>
                      <a:pt x="1216" y="383"/>
                      <a:pt x="1195" y="363"/>
                      <a:pt x="1170" y="350"/>
                    </a:cubicBezTo>
                    <a:cubicBezTo>
                      <a:pt x="1049" y="289"/>
                      <a:pt x="907" y="273"/>
                      <a:pt x="772" y="264"/>
                    </a:cubicBezTo>
                    <a:cubicBezTo>
                      <a:pt x="627" y="254"/>
                      <a:pt x="481" y="249"/>
                      <a:pt x="335" y="243"/>
                    </a:cubicBezTo>
                    <a:cubicBezTo>
                      <a:pt x="316" y="242"/>
                      <a:pt x="78" y="218"/>
                      <a:pt x="78" y="232"/>
                    </a:cubicBezTo>
                    <a:cubicBezTo>
                      <a:pt x="77" y="192"/>
                      <a:pt x="66" y="168"/>
                      <a:pt x="49" y="132"/>
                    </a:cubicBezTo>
                    <a:cubicBezTo>
                      <a:pt x="39" y="113"/>
                      <a:pt x="34" y="91"/>
                      <a:pt x="25" y="72"/>
                    </a:cubicBezTo>
                    <a:cubicBezTo>
                      <a:pt x="18" y="58"/>
                      <a:pt x="0" y="37"/>
                      <a:pt x="7" y="20"/>
                    </a:cubicBezTo>
                    <a:cubicBezTo>
                      <a:pt x="16" y="0"/>
                      <a:pt x="93" y="8"/>
                      <a:pt x="114" y="8"/>
                    </a:cubicBezTo>
                    <a:cubicBezTo>
                      <a:pt x="196" y="7"/>
                      <a:pt x="278" y="9"/>
                      <a:pt x="361" y="15"/>
                    </a:cubicBezTo>
                    <a:cubicBezTo>
                      <a:pt x="525" y="26"/>
                      <a:pt x="688" y="48"/>
                      <a:pt x="851" y="70"/>
                    </a:cubicBezTo>
                    <a:cubicBezTo>
                      <a:pt x="856" y="70"/>
                      <a:pt x="861" y="71"/>
                      <a:pt x="865" y="72"/>
                    </a:cubicBezTo>
                    <a:cubicBezTo>
                      <a:pt x="931" y="80"/>
                      <a:pt x="994" y="90"/>
                      <a:pt x="1055" y="100"/>
                    </a:cubicBezTo>
                    <a:cubicBezTo>
                      <a:pt x="1235" y="129"/>
                      <a:pt x="1389" y="162"/>
                      <a:pt x="1450" y="187"/>
                    </a:cubicBezTo>
                    <a:cubicBezTo>
                      <a:pt x="1623" y="261"/>
                      <a:pt x="1802" y="352"/>
                      <a:pt x="1733" y="529"/>
                    </a:cubicBezTo>
                    <a:cubicBezTo>
                      <a:pt x="1683" y="657"/>
                      <a:pt x="1520" y="718"/>
                      <a:pt x="1362" y="757"/>
                    </a:cubicBezTo>
                    <a:cubicBezTo>
                      <a:pt x="1249" y="785"/>
                      <a:pt x="990" y="838"/>
                      <a:pt x="933" y="926"/>
                    </a:cubicBezTo>
                    <a:cubicBezTo>
                      <a:pt x="905" y="969"/>
                      <a:pt x="918" y="1023"/>
                      <a:pt x="958" y="1057"/>
                    </a:cubicBezTo>
                    <a:cubicBezTo>
                      <a:pt x="1070" y="1151"/>
                      <a:pt x="1393" y="1135"/>
                      <a:pt x="1552" y="1136"/>
                    </a:cubicBezTo>
                    <a:cubicBezTo>
                      <a:pt x="1715" y="1138"/>
                      <a:pt x="1882" y="1125"/>
                      <a:pt x="2044" y="1133"/>
                    </a:cubicBezTo>
                    <a:cubicBezTo>
                      <a:pt x="2836" y="1176"/>
                      <a:pt x="3481" y="1603"/>
                      <a:pt x="3624" y="2183"/>
                    </a:cubicBezTo>
                    <a:cubicBezTo>
                      <a:pt x="3630" y="2208"/>
                      <a:pt x="3637" y="2238"/>
                      <a:pt x="3643" y="2270"/>
                    </a:cubicBezTo>
                    <a:close/>
                  </a:path>
                </a:pathLst>
              </a:custGeom>
              <a:solidFill>
                <a:schemeClr val="tx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173"/>
              <p:cNvSpPr>
                <a:spLocks/>
              </p:cNvSpPr>
              <p:nvPr/>
            </p:nvSpPr>
            <p:spPr bwMode="auto">
              <a:xfrm>
                <a:off x="-322072" y="1032473"/>
                <a:ext cx="7496581" cy="6566588"/>
              </a:xfrm>
              <a:custGeom>
                <a:avLst/>
                <a:gdLst>
                  <a:gd name="T0" fmla="*/ 3666 w 3704"/>
                  <a:gd name="T1" fmla="*/ 2260 h 3243"/>
                  <a:gd name="T2" fmla="*/ 3636 w 3704"/>
                  <a:gd name="T3" fmla="*/ 2488 h 3243"/>
                  <a:gd name="T4" fmla="*/ 3629 w 3704"/>
                  <a:gd name="T5" fmla="*/ 2551 h 3243"/>
                  <a:gd name="T6" fmla="*/ 3626 w 3704"/>
                  <a:gd name="T7" fmla="*/ 2635 h 3243"/>
                  <a:gd name="T8" fmla="*/ 3656 w 3704"/>
                  <a:gd name="T9" fmla="*/ 3016 h 3243"/>
                  <a:gd name="T10" fmla="*/ 3615 w 3704"/>
                  <a:gd name="T11" fmla="*/ 3009 h 3243"/>
                  <a:gd name="T12" fmla="*/ 3551 w 3704"/>
                  <a:gd name="T13" fmla="*/ 2983 h 3243"/>
                  <a:gd name="T14" fmla="*/ 3440 w 3704"/>
                  <a:gd name="T15" fmla="*/ 2989 h 3243"/>
                  <a:gd name="T16" fmla="*/ 3145 w 3704"/>
                  <a:gd name="T17" fmla="*/ 3105 h 3243"/>
                  <a:gd name="T18" fmla="*/ 3073 w 3704"/>
                  <a:gd name="T19" fmla="*/ 3085 h 3243"/>
                  <a:gd name="T20" fmla="*/ 2826 w 3704"/>
                  <a:gd name="T21" fmla="*/ 3050 h 3243"/>
                  <a:gd name="T22" fmla="*/ 2771 w 3704"/>
                  <a:gd name="T23" fmla="*/ 3072 h 3243"/>
                  <a:gd name="T24" fmla="*/ 2386 w 3704"/>
                  <a:gd name="T25" fmla="*/ 3139 h 3243"/>
                  <a:gd name="T26" fmla="*/ 2262 w 3704"/>
                  <a:gd name="T27" fmla="*/ 2952 h 3243"/>
                  <a:gd name="T28" fmla="*/ 1897 w 3704"/>
                  <a:gd name="T29" fmla="*/ 2970 h 3243"/>
                  <a:gd name="T30" fmla="*/ 1813 w 3704"/>
                  <a:gd name="T31" fmla="*/ 2969 h 3243"/>
                  <a:gd name="T32" fmla="*/ 1745 w 3704"/>
                  <a:gd name="T33" fmla="*/ 2907 h 3243"/>
                  <a:gd name="T34" fmla="*/ 2373 w 3704"/>
                  <a:gd name="T35" fmla="*/ 1861 h 3243"/>
                  <a:gd name="T36" fmla="*/ 1848 w 3704"/>
                  <a:gd name="T37" fmla="*/ 1543 h 3243"/>
                  <a:gd name="T38" fmla="*/ 1084 w 3704"/>
                  <a:gd name="T39" fmla="*/ 1487 h 3243"/>
                  <a:gd name="T40" fmla="*/ 287 w 3704"/>
                  <a:gd name="T41" fmla="*/ 1123 h 3243"/>
                  <a:gd name="T42" fmla="*/ 282 w 3704"/>
                  <a:gd name="T43" fmla="*/ 992 h 3243"/>
                  <a:gd name="T44" fmla="*/ 734 w 3704"/>
                  <a:gd name="T45" fmla="*/ 632 h 3243"/>
                  <a:gd name="T46" fmla="*/ 1252 w 3704"/>
                  <a:gd name="T47" fmla="*/ 396 h 3243"/>
                  <a:gd name="T48" fmla="*/ 851 w 3704"/>
                  <a:gd name="T49" fmla="*/ 253 h 3243"/>
                  <a:gd name="T50" fmla="*/ 173 w 3704"/>
                  <a:gd name="T51" fmla="*/ 204 h 3243"/>
                  <a:gd name="T52" fmla="*/ 94 w 3704"/>
                  <a:gd name="T53" fmla="*/ 202 h 3243"/>
                  <a:gd name="T54" fmla="*/ 49 w 3704"/>
                  <a:gd name="T55" fmla="*/ 93 h 3243"/>
                  <a:gd name="T56" fmla="*/ 0 w 3704"/>
                  <a:gd name="T57" fmla="*/ 4 h 3243"/>
                  <a:gd name="T58" fmla="*/ 216 w 3704"/>
                  <a:gd name="T59" fmla="*/ 2 h 3243"/>
                  <a:gd name="T60" fmla="*/ 832 w 3704"/>
                  <a:gd name="T61" fmla="*/ 45 h 3243"/>
                  <a:gd name="T62" fmla="*/ 1346 w 3704"/>
                  <a:gd name="T63" fmla="*/ 131 h 3243"/>
                  <a:gd name="T64" fmla="*/ 1729 w 3704"/>
                  <a:gd name="T65" fmla="*/ 322 h 3243"/>
                  <a:gd name="T66" fmla="*/ 1756 w 3704"/>
                  <a:gd name="T67" fmla="*/ 519 h 3243"/>
                  <a:gd name="T68" fmla="*/ 1386 w 3704"/>
                  <a:gd name="T69" fmla="*/ 747 h 3243"/>
                  <a:gd name="T70" fmla="*/ 957 w 3704"/>
                  <a:gd name="T71" fmla="*/ 916 h 3243"/>
                  <a:gd name="T72" fmla="*/ 982 w 3704"/>
                  <a:gd name="T73" fmla="*/ 1047 h 3243"/>
                  <a:gd name="T74" fmla="*/ 1575 w 3704"/>
                  <a:gd name="T75" fmla="*/ 1127 h 3243"/>
                  <a:gd name="T76" fmla="*/ 2067 w 3704"/>
                  <a:gd name="T77" fmla="*/ 1124 h 3243"/>
                  <a:gd name="T78" fmla="*/ 3648 w 3704"/>
                  <a:gd name="T79" fmla="*/ 2173 h 3243"/>
                  <a:gd name="T80" fmla="*/ 3666 w 3704"/>
                  <a:gd name="T81"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04" h="3243">
                    <a:moveTo>
                      <a:pt x="3666" y="2260"/>
                    </a:moveTo>
                    <a:cubicBezTo>
                      <a:pt x="3666" y="2260"/>
                      <a:pt x="3652" y="2367"/>
                      <a:pt x="3636" y="2488"/>
                    </a:cubicBezTo>
                    <a:cubicBezTo>
                      <a:pt x="3633" y="2511"/>
                      <a:pt x="3631" y="2530"/>
                      <a:pt x="3629" y="2551"/>
                    </a:cubicBezTo>
                    <a:cubicBezTo>
                      <a:pt x="3622" y="2578"/>
                      <a:pt x="3628" y="2609"/>
                      <a:pt x="3626" y="2635"/>
                    </a:cubicBezTo>
                    <a:cubicBezTo>
                      <a:pt x="3635" y="2765"/>
                      <a:pt x="3704" y="2898"/>
                      <a:pt x="3656" y="3016"/>
                    </a:cubicBezTo>
                    <a:cubicBezTo>
                      <a:pt x="3654" y="3022"/>
                      <a:pt x="3636" y="3017"/>
                      <a:pt x="3615" y="3009"/>
                    </a:cubicBezTo>
                    <a:cubicBezTo>
                      <a:pt x="3594" y="3001"/>
                      <a:pt x="3569" y="2990"/>
                      <a:pt x="3551" y="2983"/>
                    </a:cubicBezTo>
                    <a:cubicBezTo>
                      <a:pt x="3515" y="2970"/>
                      <a:pt x="3474" y="2977"/>
                      <a:pt x="3440" y="2989"/>
                    </a:cubicBezTo>
                    <a:cubicBezTo>
                      <a:pt x="3351" y="3022"/>
                      <a:pt x="3242" y="3109"/>
                      <a:pt x="3145" y="3105"/>
                    </a:cubicBezTo>
                    <a:cubicBezTo>
                      <a:pt x="3121" y="3105"/>
                      <a:pt x="3097" y="3098"/>
                      <a:pt x="3073" y="3085"/>
                    </a:cubicBezTo>
                    <a:cubicBezTo>
                      <a:pt x="2999" y="3033"/>
                      <a:pt x="2910" y="3021"/>
                      <a:pt x="2826" y="3050"/>
                    </a:cubicBezTo>
                    <a:cubicBezTo>
                      <a:pt x="2808" y="3056"/>
                      <a:pt x="2790" y="3063"/>
                      <a:pt x="2771" y="3072"/>
                    </a:cubicBezTo>
                    <a:cubicBezTo>
                      <a:pt x="2661" y="3127"/>
                      <a:pt x="2507" y="3243"/>
                      <a:pt x="2386" y="3139"/>
                    </a:cubicBezTo>
                    <a:cubicBezTo>
                      <a:pt x="2324" y="3088"/>
                      <a:pt x="2321" y="3002"/>
                      <a:pt x="2262" y="2952"/>
                    </a:cubicBezTo>
                    <a:cubicBezTo>
                      <a:pt x="2153" y="2864"/>
                      <a:pt x="2013" y="2936"/>
                      <a:pt x="1897" y="2970"/>
                    </a:cubicBezTo>
                    <a:cubicBezTo>
                      <a:pt x="1868" y="2973"/>
                      <a:pt x="1839" y="2973"/>
                      <a:pt x="1813" y="2969"/>
                    </a:cubicBezTo>
                    <a:cubicBezTo>
                      <a:pt x="1762" y="2961"/>
                      <a:pt x="1726" y="2939"/>
                      <a:pt x="1745" y="2907"/>
                    </a:cubicBezTo>
                    <a:cubicBezTo>
                      <a:pt x="1825" y="2769"/>
                      <a:pt x="2556" y="2259"/>
                      <a:pt x="2373" y="1861"/>
                    </a:cubicBezTo>
                    <a:cubicBezTo>
                      <a:pt x="2279" y="1657"/>
                      <a:pt x="2119" y="1574"/>
                      <a:pt x="1848" y="1543"/>
                    </a:cubicBezTo>
                    <a:cubicBezTo>
                      <a:pt x="1596" y="1514"/>
                      <a:pt x="1336" y="1518"/>
                      <a:pt x="1084" y="1487"/>
                    </a:cubicBezTo>
                    <a:cubicBezTo>
                      <a:pt x="795" y="1451"/>
                      <a:pt x="366" y="1377"/>
                      <a:pt x="287" y="1123"/>
                    </a:cubicBezTo>
                    <a:cubicBezTo>
                      <a:pt x="273" y="1077"/>
                      <a:pt x="272" y="1034"/>
                      <a:pt x="282" y="992"/>
                    </a:cubicBezTo>
                    <a:cubicBezTo>
                      <a:pt x="329" y="794"/>
                      <a:pt x="555" y="678"/>
                      <a:pt x="734" y="632"/>
                    </a:cubicBezTo>
                    <a:cubicBezTo>
                      <a:pt x="825" y="608"/>
                      <a:pt x="1300" y="526"/>
                      <a:pt x="1252" y="396"/>
                    </a:cubicBezTo>
                    <a:cubicBezTo>
                      <a:pt x="1205" y="269"/>
                      <a:pt x="959" y="263"/>
                      <a:pt x="851" y="253"/>
                    </a:cubicBezTo>
                    <a:cubicBezTo>
                      <a:pt x="624" y="234"/>
                      <a:pt x="398" y="230"/>
                      <a:pt x="173" y="204"/>
                    </a:cubicBezTo>
                    <a:cubicBezTo>
                      <a:pt x="148" y="202"/>
                      <a:pt x="118" y="193"/>
                      <a:pt x="94" y="202"/>
                    </a:cubicBezTo>
                    <a:cubicBezTo>
                      <a:pt x="86" y="166"/>
                      <a:pt x="73" y="122"/>
                      <a:pt x="49" y="93"/>
                    </a:cubicBezTo>
                    <a:cubicBezTo>
                      <a:pt x="26" y="65"/>
                      <a:pt x="9" y="41"/>
                      <a:pt x="0" y="4"/>
                    </a:cubicBezTo>
                    <a:cubicBezTo>
                      <a:pt x="71" y="0"/>
                      <a:pt x="144" y="0"/>
                      <a:pt x="216" y="2"/>
                    </a:cubicBezTo>
                    <a:cubicBezTo>
                      <a:pt x="422" y="7"/>
                      <a:pt x="627" y="23"/>
                      <a:pt x="832" y="45"/>
                    </a:cubicBezTo>
                    <a:cubicBezTo>
                      <a:pt x="1004" y="64"/>
                      <a:pt x="1177" y="88"/>
                      <a:pt x="1346" y="131"/>
                    </a:cubicBezTo>
                    <a:cubicBezTo>
                      <a:pt x="1477" y="165"/>
                      <a:pt x="1640" y="211"/>
                      <a:pt x="1729" y="322"/>
                    </a:cubicBezTo>
                    <a:cubicBezTo>
                      <a:pt x="1775" y="380"/>
                      <a:pt x="1783" y="451"/>
                      <a:pt x="1756" y="519"/>
                    </a:cubicBezTo>
                    <a:cubicBezTo>
                      <a:pt x="1706" y="648"/>
                      <a:pt x="1543" y="708"/>
                      <a:pt x="1386" y="747"/>
                    </a:cubicBezTo>
                    <a:cubicBezTo>
                      <a:pt x="1272" y="776"/>
                      <a:pt x="1013" y="828"/>
                      <a:pt x="957" y="916"/>
                    </a:cubicBezTo>
                    <a:cubicBezTo>
                      <a:pt x="929" y="959"/>
                      <a:pt x="941" y="1013"/>
                      <a:pt x="982" y="1047"/>
                    </a:cubicBezTo>
                    <a:cubicBezTo>
                      <a:pt x="1094" y="1141"/>
                      <a:pt x="1417" y="1125"/>
                      <a:pt x="1575" y="1127"/>
                    </a:cubicBezTo>
                    <a:cubicBezTo>
                      <a:pt x="1738" y="1128"/>
                      <a:pt x="1905" y="1115"/>
                      <a:pt x="2067" y="1124"/>
                    </a:cubicBezTo>
                    <a:cubicBezTo>
                      <a:pt x="2859" y="1166"/>
                      <a:pt x="3504" y="1593"/>
                      <a:pt x="3648" y="2173"/>
                    </a:cubicBezTo>
                    <a:cubicBezTo>
                      <a:pt x="3654" y="2198"/>
                      <a:pt x="3660" y="2228"/>
                      <a:pt x="3666" y="2260"/>
                    </a:cubicBezTo>
                    <a:close/>
                  </a:path>
                </a:pathLst>
              </a:custGeom>
              <a:solidFill>
                <a:schemeClr val="tx2">
                  <a:lumMod val="60000"/>
                  <a:lumOff val="4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174"/>
              <p:cNvSpPr>
                <a:spLocks/>
              </p:cNvSpPr>
              <p:nvPr/>
            </p:nvSpPr>
            <p:spPr bwMode="auto">
              <a:xfrm>
                <a:off x="-322072" y="1008495"/>
                <a:ext cx="7496581" cy="6566588"/>
              </a:xfrm>
              <a:custGeom>
                <a:avLst/>
                <a:gdLst>
                  <a:gd name="T0" fmla="*/ 3666 w 3704"/>
                  <a:gd name="T1" fmla="*/ 2260 h 3243"/>
                  <a:gd name="T2" fmla="*/ 3636 w 3704"/>
                  <a:gd name="T3" fmla="*/ 2489 h 3243"/>
                  <a:gd name="T4" fmla="*/ 3629 w 3704"/>
                  <a:gd name="T5" fmla="*/ 2552 h 3243"/>
                  <a:gd name="T6" fmla="*/ 3626 w 3704"/>
                  <a:gd name="T7" fmla="*/ 2635 h 3243"/>
                  <a:gd name="T8" fmla="*/ 3656 w 3704"/>
                  <a:gd name="T9" fmla="*/ 3017 h 3243"/>
                  <a:gd name="T10" fmla="*/ 3615 w 3704"/>
                  <a:gd name="T11" fmla="*/ 3010 h 3243"/>
                  <a:gd name="T12" fmla="*/ 3551 w 3704"/>
                  <a:gd name="T13" fmla="*/ 2984 h 3243"/>
                  <a:gd name="T14" fmla="*/ 3440 w 3704"/>
                  <a:gd name="T15" fmla="*/ 2989 h 3243"/>
                  <a:gd name="T16" fmla="*/ 3145 w 3704"/>
                  <a:gd name="T17" fmla="*/ 3106 h 3243"/>
                  <a:gd name="T18" fmla="*/ 3073 w 3704"/>
                  <a:gd name="T19" fmla="*/ 3085 h 3243"/>
                  <a:gd name="T20" fmla="*/ 2826 w 3704"/>
                  <a:gd name="T21" fmla="*/ 3050 h 3243"/>
                  <a:gd name="T22" fmla="*/ 2771 w 3704"/>
                  <a:gd name="T23" fmla="*/ 3073 h 3243"/>
                  <a:gd name="T24" fmla="*/ 2386 w 3704"/>
                  <a:gd name="T25" fmla="*/ 3139 h 3243"/>
                  <a:gd name="T26" fmla="*/ 2262 w 3704"/>
                  <a:gd name="T27" fmla="*/ 2953 h 3243"/>
                  <a:gd name="T28" fmla="*/ 1897 w 3704"/>
                  <a:gd name="T29" fmla="*/ 2971 h 3243"/>
                  <a:gd name="T30" fmla="*/ 1813 w 3704"/>
                  <a:gd name="T31" fmla="*/ 2969 h 3243"/>
                  <a:gd name="T32" fmla="*/ 1745 w 3704"/>
                  <a:gd name="T33" fmla="*/ 2908 h 3243"/>
                  <a:gd name="T34" fmla="*/ 2373 w 3704"/>
                  <a:gd name="T35" fmla="*/ 1862 h 3243"/>
                  <a:gd name="T36" fmla="*/ 1848 w 3704"/>
                  <a:gd name="T37" fmla="*/ 1544 h 3243"/>
                  <a:gd name="T38" fmla="*/ 1084 w 3704"/>
                  <a:gd name="T39" fmla="*/ 1488 h 3243"/>
                  <a:gd name="T40" fmla="*/ 287 w 3704"/>
                  <a:gd name="T41" fmla="*/ 1124 h 3243"/>
                  <a:gd name="T42" fmla="*/ 282 w 3704"/>
                  <a:gd name="T43" fmla="*/ 993 h 3243"/>
                  <a:gd name="T44" fmla="*/ 307 w 3704"/>
                  <a:gd name="T45" fmla="*/ 922 h 3243"/>
                  <a:gd name="T46" fmla="*/ 352 w 3704"/>
                  <a:gd name="T47" fmla="*/ 861 h 3243"/>
                  <a:gd name="T48" fmla="*/ 1045 w 3704"/>
                  <a:gd name="T49" fmla="*/ 554 h 3243"/>
                  <a:gd name="T50" fmla="*/ 1133 w 3704"/>
                  <a:gd name="T51" fmla="*/ 522 h 3243"/>
                  <a:gd name="T52" fmla="*/ 1252 w 3704"/>
                  <a:gd name="T53" fmla="*/ 397 h 3243"/>
                  <a:gd name="T54" fmla="*/ 915 w 3704"/>
                  <a:gd name="T55" fmla="*/ 259 h 3243"/>
                  <a:gd name="T56" fmla="*/ 851 w 3704"/>
                  <a:gd name="T57" fmla="*/ 254 h 3243"/>
                  <a:gd name="T58" fmla="*/ 525 w 3704"/>
                  <a:gd name="T59" fmla="*/ 232 h 3243"/>
                  <a:gd name="T60" fmla="*/ 455 w 3704"/>
                  <a:gd name="T61" fmla="*/ 228 h 3243"/>
                  <a:gd name="T62" fmla="*/ 173 w 3704"/>
                  <a:gd name="T63" fmla="*/ 205 h 3243"/>
                  <a:gd name="T64" fmla="*/ 94 w 3704"/>
                  <a:gd name="T65" fmla="*/ 203 h 3243"/>
                  <a:gd name="T66" fmla="*/ 49 w 3704"/>
                  <a:gd name="T67" fmla="*/ 93 h 3243"/>
                  <a:gd name="T68" fmla="*/ 0 w 3704"/>
                  <a:gd name="T69" fmla="*/ 5 h 3243"/>
                  <a:gd name="T70" fmla="*/ 216 w 3704"/>
                  <a:gd name="T71" fmla="*/ 2 h 3243"/>
                  <a:gd name="T72" fmla="*/ 832 w 3704"/>
                  <a:gd name="T73" fmla="*/ 46 h 3243"/>
                  <a:gd name="T74" fmla="*/ 1346 w 3704"/>
                  <a:gd name="T75" fmla="*/ 132 h 3243"/>
                  <a:gd name="T76" fmla="*/ 1729 w 3704"/>
                  <a:gd name="T77" fmla="*/ 323 h 3243"/>
                  <a:gd name="T78" fmla="*/ 1756 w 3704"/>
                  <a:gd name="T79" fmla="*/ 519 h 3243"/>
                  <a:gd name="T80" fmla="*/ 1386 w 3704"/>
                  <a:gd name="T81" fmla="*/ 748 h 3243"/>
                  <a:gd name="T82" fmla="*/ 1068 w 3704"/>
                  <a:gd name="T83" fmla="*/ 840 h 3243"/>
                  <a:gd name="T84" fmla="*/ 1000 w 3704"/>
                  <a:gd name="T85" fmla="*/ 875 h 3243"/>
                  <a:gd name="T86" fmla="*/ 957 w 3704"/>
                  <a:gd name="T87" fmla="*/ 916 h 3243"/>
                  <a:gd name="T88" fmla="*/ 944 w 3704"/>
                  <a:gd name="T89" fmla="*/ 986 h 3243"/>
                  <a:gd name="T90" fmla="*/ 982 w 3704"/>
                  <a:gd name="T91" fmla="*/ 1048 h 3243"/>
                  <a:gd name="T92" fmla="*/ 1575 w 3704"/>
                  <a:gd name="T93" fmla="*/ 1127 h 3243"/>
                  <a:gd name="T94" fmla="*/ 2067 w 3704"/>
                  <a:gd name="T95" fmla="*/ 1124 h 3243"/>
                  <a:gd name="T96" fmla="*/ 3648 w 3704"/>
                  <a:gd name="T97" fmla="*/ 2173 h 3243"/>
                  <a:gd name="T98" fmla="*/ 3666 w 3704"/>
                  <a:gd name="T99" fmla="*/ 2260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04" h="3243">
                    <a:moveTo>
                      <a:pt x="3666" y="2260"/>
                    </a:moveTo>
                    <a:cubicBezTo>
                      <a:pt x="3666" y="2260"/>
                      <a:pt x="3652" y="2368"/>
                      <a:pt x="3636" y="2489"/>
                    </a:cubicBezTo>
                    <a:cubicBezTo>
                      <a:pt x="3633" y="2511"/>
                      <a:pt x="3631" y="2531"/>
                      <a:pt x="3629" y="2552"/>
                    </a:cubicBezTo>
                    <a:cubicBezTo>
                      <a:pt x="3622" y="2579"/>
                      <a:pt x="3628" y="2609"/>
                      <a:pt x="3626" y="2635"/>
                    </a:cubicBezTo>
                    <a:cubicBezTo>
                      <a:pt x="3635" y="2766"/>
                      <a:pt x="3704" y="2899"/>
                      <a:pt x="3656" y="3017"/>
                    </a:cubicBezTo>
                    <a:cubicBezTo>
                      <a:pt x="3654" y="3022"/>
                      <a:pt x="3636" y="3018"/>
                      <a:pt x="3615" y="3010"/>
                    </a:cubicBezTo>
                    <a:cubicBezTo>
                      <a:pt x="3594" y="3002"/>
                      <a:pt x="3569" y="2991"/>
                      <a:pt x="3551" y="2984"/>
                    </a:cubicBezTo>
                    <a:cubicBezTo>
                      <a:pt x="3515" y="2970"/>
                      <a:pt x="3474" y="2977"/>
                      <a:pt x="3440" y="2989"/>
                    </a:cubicBezTo>
                    <a:cubicBezTo>
                      <a:pt x="3351" y="3023"/>
                      <a:pt x="3242" y="3109"/>
                      <a:pt x="3145" y="3106"/>
                    </a:cubicBezTo>
                    <a:cubicBezTo>
                      <a:pt x="3121" y="3105"/>
                      <a:pt x="3097" y="3099"/>
                      <a:pt x="3073" y="3085"/>
                    </a:cubicBezTo>
                    <a:cubicBezTo>
                      <a:pt x="2999" y="3033"/>
                      <a:pt x="2910" y="3021"/>
                      <a:pt x="2826" y="3050"/>
                    </a:cubicBezTo>
                    <a:cubicBezTo>
                      <a:pt x="2808" y="3056"/>
                      <a:pt x="2790" y="3064"/>
                      <a:pt x="2771" y="3073"/>
                    </a:cubicBezTo>
                    <a:cubicBezTo>
                      <a:pt x="2661" y="3128"/>
                      <a:pt x="2507" y="3243"/>
                      <a:pt x="2386" y="3139"/>
                    </a:cubicBezTo>
                    <a:cubicBezTo>
                      <a:pt x="2324" y="3089"/>
                      <a:pt x="2321" y="3003"/>
                      <a:pt x="2262" y="2953"/>
                    </a:cubicBezTo>
                    <a:cubicBezTo>
                      <a:pt x="2153" y="2864"/>
                      <a:pt x="2013" y="2937"/>
                      <a:pt x="1897" y="2971"/>
                    </a:cubicBezTo>
                    <a:cubicBezTo>
                      <a:pt x="1868" y="2974"/>
                      <a:pt x="1839" y="2973"/>
                      <a:pt x="1813" y="2969"/>
                    </a:cubicBezTo>
                    <a:cubicBezTo>
                      <a:pt x="1762" y="2961"/>
                      <a:pt x="1726" y="2939"/>
                      <a:pt x="1745" y="2908"/>
                    </a:cubicBezTo>
                    <a:cubicBezTo>
                      <a:pt x="1825" y="2769"/>
                      <a:pt x="2556" y="2260"/>
                      <a:pt x="2373" y="1862"/>
                    </a:cubicBezTo>
                    <a:cubicBezTo>
                      <a:pt x="2279" y="1657"/>
                      <a:pt x="2119" y="1575"/>
                      <a:pt x="1848" y="1544"/>
                    </a:cubicBezTo>
                    <a:cubicBezTo>
                      <a:pt x="1596" y="1514"/>
                      <a:pt x="1336" y="1519"/>
                      <a:pt x="1084" y="1488"/>
                    </a:cubicBezTo>
                    <a:cubicBezTo>
                      <a:pt x="795" y="1452"/>
                      <a:pt x="366" y="1377"/>
                      <a:pt x="287" y="1124"/>
                    </a:cubicBezTo>
                    <a:cubicBezTo>
                      <a:pt x="273" y="1078"/>
                      <a:pt x="272" y="1034"/>
                      <a:pt x="282" y="993"/>
                    </a:cubicBezTo>
                    <a:cubicBezTo>
                      <a:pt x="288" y="968"/>
                      <a:pt x="296" y="945"/>
                      <a:pt x="307" y="922"/>
                    </a:cubicBezTo>
                    <a:cubicBezTo>
                      <a:pt x="321" y="900"/>
                      <a:pt x="336" y="880"/>
                      <a:pt x="352" y="861"/>
                    </a:cubicBezTo>
                    <a:cubicBezTo>
                      <a:pt x="528" y="657"/>
                      <a:pt x="804" y="629"/>
                      <a:pt x="1045" y="554"/>
                    </a:cubicBezTo>
                    <a:cubicBezTo>
                      <a:pt x="1076" y="544"/>
                      <a:pt x="1106" y="534"/>
                      <a:pt x="1133" y="522"/>
                    </a:cubicBezTo>
                    <a:cubicBezTo>
                      <a:pt x="1215" y="487"/>
                      <a:pt x="1270" y="445"/>
                      <a:pt x="1252" y="397"/>
                    </a:cubicBezTo>
                    <a:cubicBezTo>
                      <a:pt x="1213" y="291"/>
                      <a:pt x="1035" y="269"/>
                      <a:pt x="915" y="259"/>
                    </a:cubicBezTo>
                    <a:cubicBezTo>
                      <a:pt x="891" y="257"/>
                      <a:pt x="869" y="255"/>
                      <a:pt x="851" y="254"/>
                    </a:cubicBezTo>
                    <a:cubicBezTo>
                      <a:pt x="744" y="249"/>
                      <a:pt x="632" y="237"/>
                      <a:pt x="525" y="232"/>
                    </a:cubicBezTo>
                    <a:cubicBezTo>
                      <a:pt x="502" y="231"/>
                      <a:pt x="478" y="230"/>
                      <a:pt x="455" y="228"/>
                    </a:cubicBezTo>
                    <a:cubicBezTo>
                      <a:pt x="360" y="222"/>
                      <a:pt x="266" y="215"/>
                      <a:pt x="173" y="205"/>
                    </a:cubicBezTo>
                    <a:cubicBezTo>
                      <a:pt x="148" y="202"/>
                      <a:pt x="118" y="193"/>
                      <a:pt x="94" y="203"/>
                    </a:cubicBezTo>
                    <a:cubicBezTo>
                      <a:pt x="86" y="167"/>
                      <a:pt x="73" y="122"/>
                      <a:pt x="49" y="93"/>
                    </a:cubicBezTo>
                    <a:cubicBezTo>
                      <a:pt x="26" y="65"/>
                      <a:pt x="9" y="42"/>
                      <a:pt x="0" y="5"/>
                    </a:cubicBezTo>
                    <a:cubicBezTo>
                      <a:pt x="71" y="0"/>
                      <a:pt x="144" y="0"/>
                      <a:pt x="216" y="2"/>
                    </a:cubicBezTo>
                    <a:cubicBezTo>
                      <a:pt x="422" y="7"/>
                      <a:pt x="627" y="24"/>
                      <a:pt x="832" y="46"/>
                    </a:cubicBezTo>
                    <a:cubicBezTo>
                      <a:pt x="1004" y="64"/>
                      <a:pt x="1177" y="88"/>
                      <a:pt x="1346" y="132"/>
                    </a:cubicBezTo>
                    <a:cubicBezTo>
                      <a:pt x="1477" y="166"/>
                      <a:pt x="1640" y="212"/>
                      <a:pt x="1729" y="323"/>
                    </a:cubicBezTo>
                    <a:cubicBezTo>
                      <a:pt x="1775" y="380"/>
                      <a:pt x="1783" y="451"/>
                      <a:pt x="1756" y="519"/>
                    </a:cubicBezTo>
                    <a:cubicBezTo>
                      <a:pt x="1706" y="648"/>
                      <a:pt x="1543" y="708"/>
                      <a:pt x="1386" y="748"/>
                    </a:cubicBezTo>
                    <a:cubicBezTo>
                      <a:pt x="1310" y="767"/>
                      <a:pt x="1170" y="796"/>
                      <a:pt x="1068" y="840"/>
                    </a:cubicBezTo>
                    <a:cubicBezTo>
                      <a:pt x="1042" y="851"/>
                      <a:pt x="1019" y="863"/>
                      <a:pt x="1000" y="875"/>
                    </a:cubicBezTo>
                    <a:cubicBezTo>
                      <a:pt x="981" y="888"/>
                      <a:pt x="966" y="902"/>
                      <a:pt x="957" y="916"/>
                    </a:cubicBezTo>
                    <a:cubicBezTo>
                      <a:pt x="943" y="938"/>
                      <a:pt x="939" y="962"/>
                      <a:pt x="944" y="986"/>
                    </a:cubicBezTo>
                    <a:cubicBezTo>
                      <a:pt x="948" y="1009"/>
                      <a:pt x="961" y="1031"/>
                      <a:pt x="982" y="1048"/>
                    </a:cubicBezTo>
                    <a:cubicBezTo>
                      <a:pt x="1094" y="1142"/>
                      <a:pt x="1417" y="1125"/>
                      <a:pt x="1575" y="1127"/>
                    </a:cubicBezTo>
                    <a:cubicBezTo>
                      <a:pt x="1738" y="1129"/>
                      <a:pt x="1905" y="1115"/>
                      <a:pt x="2067" y="1124"/>
                    </a:cubicBezTo>
                    <a:cubicBezTo>
                      <a:pt x="2859" y="1167"/>
                      <a:pt x="3504" y="1594"/>
                      <a:pt x="3648" y="2173"/>
                    </a:cubicBezTo>
                    <a:cubicBezTo>
                      <a:pt x="3654" y="2199"/>
                      <a:pt x="3660" y="2228"/>
                      <a:pt x="3666" y="2260"/>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4" name="Freeform 179"/>
            <p:cNvSpPr>
              <a:spLocks noEditPoints="1"/>
            </p:cNvSpPr>
            <p:nvPr/>
          </p:nvSpPr>
          <p:spPr bwMode="auto">
            <a:xfrm>
              <a:off x="-1511557" y="1210597"/>
              <a:ext cx="7453763" cy="6009952"/>
            </a:xfrm>
            <a:custGeom>
              <a:avLst/>
              <a:gdLst>
                <a:gd name="T0" fmla="*/ 1157 w 3683"/>
                <a:gd name="T1" fmla="*/ 18 h 2968"/>
                <a:gd name="T2" fmla="*/ 963 w 3683"/>
                <a:gd name="T3" fmla="*/ 19 h 2968"/>
                <a:gd name="T4" fmla="*/ 1009 w 3683"/>
                <a:gd name="T5" fmla="*/ 26 h 2968"/>
                <a:gd name="T6" fmla="*/ 1011 w 3683"/>
                <a:gd name="T7" fmla="*/ 13 h 2968"/>
                <a:gd name="T8" fmla="*/ 1250 w 3683"/>
                <a:gd name="T9" fmla="*/ 836 h 2968"/>
                <a:gd name="T10" fmla="*/ 1228 w 3683"/>
                <a:gd name="T11" fmla="*/ 966 h 2968"/>
                <a:gd name="T12" fmla="*/ 1244 w 3683"/>
                <a:gd name="T13" fmla="*/ 960 h 2968"/>
                <a:gd name="T14" fmla="*/ 1401 w 3683"/>
                <a:gd name="T15" fmla="*/ 1119 h 2968"/>
                <a:gd name="T16" fmla="*/ 1528 w 3683"/>
                <a:gd name="T17" fmla="*/ 1150 h 2968"/>
                <a:gd name="T18" fmla="*/ 1519 w 3683"/>
                <a:gd name="T19" fmla="*/ 55 h 2968"/>
                <a:gd name="T20" fmla="*/ 1449 w 3683"/>
                <a:gd name="T21" fmla="*/ 669 h 2968"/>
                <a:gd name="T22" fmla="*/ 1285 w 3683"/>
                <a:gd name="T23" fmla="*/ 770 h 2968"/>
                <a:gd name="T24" fmla="*/ 1455 w 3683"/>
                <a:gd name="T25" fmla="*/ 674 h 2968"/>
                <a:gd name="T26" fmla="*/ 1709 w 3683"/>
                <a:gd name="T27" fmla="*/ 80 h 2968"/>
                <a:gd name="T28" fmla="*/ 3599 w 3683"/>
                <a:gd name="T29" fmla="*/ 1859 h 2968"/>
                <a:gd name="T30" fmla="*/ 3647 w 3683"/>
                <a:gd name="T31" fmla="*/ 1912 h 2968"/>
                <a:gd name="T32" fmla="*/ 3615 w 3683"/>
                <a:gd name="T33" fmla="*/ 1813 h 2968"/>
                <a:gd name="T34" fmla="*/ 3548 w 3683"/>
                <a:gd name="T35" fmla="*/ 1742 h 2968"/>
                <a:gd name="T36" fmla="*/ 48 w 3683"/>
                <a:gd name="T37" fmla="*/ 73 h 2968"/>
                <a:gd name="T38" fmla="*/ 1311 w 3683"/>
                <a:gd name="T39" fmla="*/ 27 h 2968"/>
                <a:gd name="T40" fmla="*/ 673 w 3683"/>
                <a:gd name="T41" fmla="*/ 6 h 2968"/>
                <a:gd name="T42" fmla="*/ 537 w 3683"/>
                <a:gd name="T43" fmla="*/ 1 h 2968"/>
                <a:gd name="T44" fmla="*/ 798 w 3683"/>
                <a:gd name="T45" fmla="*/ 20 h 2968"/>
                <a:gd name="T46" fmla="*/ 298 w 3683"/>
                <a:gd name="T47" fmla="*/ 27 h 2968"/>
                <a:gd name="T48" fmla="*/ 502 w 3683"/>
                <a:gd name="T49" fmla="*/ 17 h 2968"/>
                <a:gd name="T50" fmla="*/ 3272 w 3683"/>
                <a:gd name="T51" fmla="*/ 1450 h 2968"/>
                <a:gd name="T52" fmla="*/ 3338 w 3683"/>
                <a:gd name="T53" fmla="*/ 1521 h 2968"/>
                <a:gd name="T54" fmla="*/ 3430 w 3683"/>
                <a:gd name="T55" fmla="*/ 1554 h 2968"/>
                <a:gd name="T56" fmla="*/ 3374 w 3683"/>
                <a:gd name="T57" fmla="*/ 2968 h 2968"/>
                <a:gd name="T58" fmla="*/ 3397 w 3683"/>
                <a:gd name="T59" fmla="*/ 2879 h 2968"/>
                <a:gd name="T60" fmla="*/ 2880 w 3683"/>
                <a:gd name="T61" fmla="*/ 1304 h 2968"/>
                <a:gd name="T62" fmla="*/ 2970 w 3683"/>
                <a:gd name="T63" fmla="*/ 1358 h 2968"/>
                <a:gd name="T64" fmla="*/ 2978 w 3683"/>
                <a:gd name="T65" fmla="*/ 1333 h 2968"/>
                <a:gd name="T66" fmla="*/ 2506 w 3683"/>
                <a:gd name="T67" fmla="*/ 1258 h 2968"/>
                <a:gd name="T68" fmla="*/ 2648 w 3683"/>
                <a:gd name="T69" fmla="*/ 1254 h 2968"/>
                <a:gd name="T70" fmla="*/ 3528 w 3683"/>
                <a:gd name="T71" fmla="*/ 2668 h 2968"/>
                <a:gd name="T72" fmla="*/ 3615 w 3683"/>
                <a:gd name="T73" fmla="*/ 2554 h 2968"/>
                <a:gd name="T74" fmla="*/ 3682 w 3683"/>
                <a:gd name="T75" fmla="*/ 2148 h 2968"/>
                <a:gd name="T76" fmla="*/ 3650 w 3683"/>
                <a:gd name="T77" fmla="*/ 2149 h 2968"/>
                <a:gd name="T78" fmla="*/ 3674 w 3683"/>
                <a:gd name="T79" fmla="*/ 2322 h 2968"/>
                <a:gd name="T80" fmla="*/ 2076 w 3683"/>
                <a:gd name="T81" fmla="*/ 230 h 2968"/>
                <a:gd name="T82" fmla="*/ 1946 w 3683"/>
                <a:gd name="T83" fmla="*/ 144 h 2968"/>
                <a:gd name="T84" fmla="*/ 1816 w 3683"/>
                <a:gd name="T85" fmla="*/ 532 h 2968"/>
                <a:gd name="T86" fmla="*/ 1969 w 3683"/>
                <a:gd name="T87" fmla="*/ 480 h 2968"/>
                <a:gd name="T88" fmla="*/ 1695 w 3683"/>
                <a:gd name="T89" fmla="*/ 1175 h 2968"/>
                <a:gd name="T90" fmla="*/ 1834 w 3683"/>
                <a:gd name="T91" fmla="*/ 1203 h 2968"/>
                <a:gd name="T92" fmla="*/ 1835 w 3683"/>
                <a:gd name="T93" fmla="*/ 1182 h 2968"/>
                <a:gd name="T94" fmla="*/ 2069 w 3683"/>
                <a:gd name="T95" fmla="*/ 1220 h 2968"/>
                <a:gd name="T96" fmla="*/ 2098 w 3683"/>
                <a:gd name="T97" fmla="*/ 316 h 2968"/>
                <a:gd name="T98" fmla="*/ 2030 w 3683"/>
                <a:gd name="T99" fmla="*/ 439 h 2968"/>
                <a:gd name="T100" fmla="*/ 1725 w 3683"/>
                <a:gd name="T101" fmla="*/ 564 h 2968"/>
                <a:gd name="T102" fmla="*/ 1733 w 3683"/>
                <a:gd name="T103" fmla="*/ 579 h 2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83" h="2968">
                  <a:moveTo>
                    <a:pt x="1265" y="38"/>
                  </a:moveTo>
                  <a:cubicBezTo>
                    <a:pt x="1228" y="36"/>
                    <a:pt x="1192" y="33"/>
                    <a:pt x="1157" y="30"/>
                  </a:cubicBezTo>
                  <a:cubicBezTo>
                    <a:pt x="1156" y="30"/>
                    <a:pt x="1155" y="30"/>
                    <a:pt x="1154" y="30"/>
                  </a:cubicBezTo>
                  <a:cubicBezTo>
                    <a:pt x="1154" y="26"/>
                    <a:pt x="1155" y="22"/>
                    <a:pt x="1155" y="18"/>
                  </a:cubicBezTo>
                  <a:cubicBezTo>
                    <a:pt x="1156" y="18"/>
                    <a:pt x="1157" y="18"/>
                    <a:pt x="1157" y="18"/>
                  </a:cubicBezTo>
                  <a:cubicBezTo>
                    <a:pt x="1192" y="20"/>
                    <a:pt x="1228" y="23"/>
                    <a:pt x="1265" y="25"/>
                  </a:cubicBezTo>
                  <a:cubicBezTo>
                    <a:pt x="1265" y="29"/>
                    <a:pt x="1265" y="33"/>
                    <a:pt x="1265" y="38"/>
                  </a:cubicBezTo>
                  <a:close/>
                  <a:moveTo>
                    <a:pt x="870" y="22"/>
                  </a:moveTo>
                  <a:cubicBezTo>
                    <a:pt x="891" y="22"/>
                    <a:pt x="913" y="23"/>
                    <a:pt x="935" y="24"/>
                  </a:cubicBezTo>
                  <a:cubicBezTo>
                    <a:pt x="942" y="16"/>
                    <a:pt x="954" y="14"/>
                    <a:pt x="963" y="19"/>
                  </a:cubicBezTo>
                  <a:cubicBezTo>
                    <a:pt x="963" y="17"/>
                    <a:pt x="964" y="15"/>
                    <a:pt x="964" y="12"/>
                  </a:cubicBezTo>
                  <a:cubicBezTo>
                    <a:pt x="931" y="12"/>
                    <a:pt x="899" y="11"/>
                    <a:pt x="869" y="10"/>
                  </a:cubicBezTo>
                  <a:cubicBezTo>
                    <a:pt x="869" y="14"/>
                    <a:pt x="869" y="18"/>
                    <a:pt x="870" y="22"/>
                  </a:cubicBezTo>
                  <a:close/>
                  <a:moveTo>
                    <a:pt x="1011" y="13"/>
                  </a:moveTo>
                  <a:cubicBezTo>
                    <a:pt x="1010" y="17"/>
                    <a:pt x="1009" y="21"/>
                    <a:pt x="1009" y="26"/>
                  </a:cubicBezTo>
                  <a:cubicBezTo>
                    <a:pt x="1019" y="26"/>
                    <a:pt x="1029" y="26"/>
                    <a:pt x="1039" y="26"/>
                  </a:cubicBezTo>
                  <a:cubicBezTo>
                    <a:pt x="1061" y="27"/>
                    <a:pt x="1085" y="28"/>
                    <a:pt x="1108" y="28"/>
                  </a:cubicBezTo>
                  <a:cubicBezTo>
                    <a:pt x="1109" y="24"/>
                    <a:pt x="1109" y="20"/>
                    <a:pt x="1110" y="16"/>
                  </a:cubicBezTo>
                  <a:cubicBezTo>
                    <a:pt x="1086" y="15"/>
                    <a:pt x="1062" y="15"/>
                    <a:pt x="1039" y="14"/>
                  </a:cubicBezTo>
                  <a:cubicBezTo>
                    <a:pt x="1030" y="14"/>
                    <a:pt x="1020" y="14"/>
                    <a:pt x="1011" y="13"/>
                  </a:cubicBezTo>
                  <a:close/>
                  <a:moveTo>
                    <a:pt x="1244" y="960"/>
                  </a:moveTo>
                  <a:cubicBezTo>
                    <a:pt x="1243" y="956"/>
                    <a:pt x="1242" y="953"/>
                    <a:pt x="1241" y="949"/>
                  </a:cubicBezTo>
                  <a:cubicBezTo>
                    <a:pt x="1240" y="945"/>
                    <a:pt x="1239" y="941"/>
                    <a:pt x="1238" y="937"/>
                  </a:cubicBezTo>
                  <a:cubicBezTo>
                    <a:pt x="1235" y="920"/>
                    <a:pt x="1234" y="903"/>
                    <a:pt x="1236" y="886"/>
                  </a:cubicBezTo>
                  <a:cubicBezTo>
                    <a:pt x="1237" y="869"/>
                    <a:pt x="1242" y="852"/>
                    <a:pt x="1250" y="836"/>
                  </a:cubicBezTo>
                  <a:cubicBezTo>
                    <a:pt x="1232" y="836"/>
                    <a:pt x="1232" y="836"/>
                    <a:pt x="1232" y="836"/>
                  </a:cubicBezTo>
                  <a:cubicBezTo>
                    <a:pt x="1225" y="852"/>
                    <a:pt x="1221" y="868"/>
                    <a:pt x="1219" y="885"/>
                  </a:cubicBezTo>
                  <a:cubicBezTo>
                    <a:pt x="1217" y="904"/>
                    <a:pt x="1218" y="922"/>
                    <a:pt x="1221" y="940"/>
                  </a:cubicBezTo>
                  <a:cubicBezTo>
                    <a:pt x="1222" y="944"/>
                    <a:pt x="1223" y="949"/>
                    <a:pt x="1224" y="953"/>
                  </a:cubicBezTo>
                  <a:cubicBezTo>
                    <a:pt x="1226" y="957"/>
                    <a:pt x="1227" y="962"/>
                    <a:pt x="1228" y="966"/>
                  </a:cubicBezTo>
                  <a:cubicBezTo>
                    <a:pt x="1231" y="974"/>
                    <a:pt x="1234" y="982"/>
                    <a:pt x="1238" y="990"/>
                  </a:cubicBezTo>
                  <a:cubicBezTo>
                    <a:pt x="1244" y="1002"/>
                    <a:pt x="1251" y="1013"/>
                    <a:pt x="1259" y="1023"/>
                  </a:cubicBezTo>
                  <a:cubicBezTo>
                    <a:pt x="1264" y="1020"/>
                    <a:pt x="1269" y="1017"/>
                    <a:pt x="1274" y="1014"/>
                  </a:cubicBezTo>
                  <a:cubicBezTo>
                    <a:pt x="1266" y="1005"/>
                    <a:pt x="1259" y="994"/>
                    <a:pt x="1253" y="982"/>
                  </a:cubicBezTo>
                  <a:cubicBezTo>
                    <a:pt x="1249" y="975"/>
                    <a:pt x="1247" y="968"/>
                    <a:pt x="1244" y="960"/>
                  </a:cubicBezTo>
                  <a:close/>
                  <a:moveTo>
                    <a:pt x="1503" y="1141"/>
                  </a:moveTo>
                  <a:cubicBezTo>
                    <a:pt x="1481" y="1132"/>
                    <a:pt x="1448" y="1121"/>
                    <a:pt x="1408" y="1104"/>
                  </a:cubicBezTo>
                  <a:cubicBezTo>
                    <a:pt x="1390" y="1096"/>
                    <a:pt x="1370" y="1087"/>
                    <a:pt x="1349" y="1075"/>
                  </a:cubicBezTo>
                  <a:cubicBezTo>
                    <a:pt x="1346" y="1079"/>
                    <a:pt x="1343" y="1084"/>
                    <a:pt x="1340" y="1088"/>
                  </a:cubicBezTo>
                  <a:cubicBezTo>
                    <a:pt x="1361" y="1101"/>
                    <a:pt x="1382" y="1110"/>
                    <a:pt x="1401" y="1119"/>
                  </a:cubicBezTo>
                  <a:cubicBezTo>
                    <a:pt x="1442" y="1136"/>
                    <a:pt x="1475" y="1147"/>
                    <a:pt x="1497" y="1156"/>
                  </a:cubicBezTo>
                  <a:cubicBezTo>
                    <a:pt x="1509" y="1160"/>
                    <a:pt x="1517" y="1163"/>
                    <a:pt x="1523" y="1165"/>
                  </a:cubicBezTo>
                  <a:cubicBezTo>
                    <a:pt x="1528" y="1167"/>
                    <a:pt x="1531" y="1168"/>
                    <a:pt x="1531" y="1168"/>
                  </a:cubicBezTo>
                  <a:cubicBezTo>
                    <a:pt x="1537" y="1154"/>
                    <a:pt x="1537" y="1154"/>
                    <a:pt x="1537" y="1154"/>
                  </a:cubicBezTo>
                  <a:cubicBezTo>
                    <a:pt x="1537" y="1154"/>
                    <a:pt x="1534" y="1152"/>
                    <a:pt x="1528" y="1150"/>
                  </a:cubicBezTo>
                  <a:cubicBezTo>
                    <a:pt x="1523" y="1148"/>
                    <a:pt x="1514" y="1145"/>
                    <a:pt x="1503" y="1141"/>
                  </a:cubicBezTo>
                  <a:close/>
                  <a:moveTo>
                    <a:pt x="1666" y="58"/>
                  </a:moveTo>
                  <a:cubicBezTo>
                    <a:pt x="1629" y="53"/>
                    <a:pt x="1592" y="48"/>
                    <a:pt x="1556" y="44"/>
                  </a:cubicBezTo>
                  <a:cubicBezTo>
                    <a:pt x="1544" y="43"/>
                    <a:pt x="1531" y="42"/>
                    <a:pt x="1519" y="41"/>
                  </a:cubicBezTo>
                  <a:cubicBezTo>
                    <a:pt x="1519" y="46"/>
                    <a:pt x="1519" y="50"/>
                    <a:pt x="1519" y="55"/>
                  </a:cubicBezTo>
                  <a:cubicBezTo>
                    <a:pt x="1531" y="56"/>
                    <a:pt x="1543" y="57"/>
                    <a:pt x="1554" y="58"/>
                  </a:cubicBezTo>
                  <a:cubicBezTo>
                    <a:pt x="1591" y="62"/>
                    <a:pt x="1627" y="67"/>
                    <a:pt x="1664" y="72"/>
                  </a:cubicBezTo>
                  <a:cubicBezTo>
                    <a:pt x="1665" y="68"/>
                    <a:pt x="1666" y="63"/>
                    <a:pt x="1666" y="58"/>
                  </a:cubicBezTo>
                  <a:close/>
                  <a:moveTo>
                    <a:pt x="1455" y="674"/>
                  </a:moveTo>
                  <a:cubicBezTo>
                    <a:pt x="1452" y="671"/>
                    <a:pt x="1454" y="672"/>
                    <a:pt x="1449" y="669"/>
                  </a:cubicBezTo>
                  <a:cubicBezTo>
                    <a:pt x="1445" y="667"/>
                    <a:pt x="1441" y="665"/>
                    <a:pt x="1437" y="663"/>
                  </a:cubicBezTo>
                  <a:cubicBezTo>
                    <a:pt x="1432" y="666"/>
                    <a:pt x="1427" y="668"/>
                    <a:pt x="1422" y="670"/>
                  </a:cubicBezTo>
                  <a:cubicBezTo>
                    <a:pt x="1383" y="689"/>
                    <a:pt x="1345" y="710"/>
                    <a:pt x="1313" y="736"/>
                  </a:cubicBezTo>
                  <a:cubicBezTo>
                    <a:pt x="1300" y="747"/>
                    <a:pt x="1288" y="757"/>
                    <a:pt x="1276" y="769"/>
                  </a:cubicBezTo>
                  <a:cubicBezTo>
                    <a:pt x="1279" y="769"/>
                    <a:pt x="1282" y="770"/>
                    <a:pt x="1285" y="770"/>
                  </a:cubicBezTo>
                  <a:cubicBezTo>
                    <a:pt x="1289" y="769"/>
                    <a:pt x="1293" y="768"/>
                    <a:pt x="1298" y="767"/>
                  </a:cubicBezTo>
                  <a:cubicBezTo>
                    <a:pt x="1300" y="766"/>
                    <a:pt x="1302" y="766"/>
                    <a:pt x="1304" y="766"/>
                  </a:cubicBezTo>
                  <a:cubicBezTo>
                    <a:pt x="1310" y="760"/>
                    <a:pt x="1317" y="755"/>
                    <a:pt x="1323" y="750"/>
                  </a:cubicBezTo>
                  <a:cubicBezTo>
                    <a:pt x="1355" y="725"/>
                    <a:pt x="1391" y="704"/>
                    <a:pt x="1430" y="686"/>
                  </a:cubicBezTo>
                  <a:cubicBezTo>
                    <a:pt x="1438" y="682"/>
                    <a:pt x="1447" y="678"/>
                    <a:pt x="1455" y="674"/>
                  </a:cubicBezTo>
                  <a:close/>
                  <a:moveTo>
                    <a:pt x="1879" y="120"/>
                  </a:moveTo>
                  <a:cubicBezTo>
                    <a:pt x="1880" y="115"/>
                    <a:pt x="1881" y="110"/>
                    <a:pt x="1883" y="105"/>
                  </a:cubicBezTo>
                  <a:cubicBezTo>
                    <a:pt x="1870" y="101"/>
                    <a:pt x="1857" y="97"/>
                    <a:pt x="1844" y="94"/>
                  </a:cubicBezTo>
                  <a:cubicBezTo>
                    <a:pt x="1800" y="82"/>
                    <a:pt x="1756" y="73"/>
                    <a:pt x="1712" y="65"/>
                  </a:cubicBezTo>
                  <a:cubicBezTo>
                    <a:pt x="1711" y="70"/>
                    <a:pt x="1710" y="75"/>
                    <a:pt x="1709" y="80"/>
                  </a:cubicBezTo>
                  <a:cubicBezTo>
                    <a:pt x="1753" y="88"/>
                    <a:pt x="1797" y="97"/>
                    <a:pt x="1840" y="109"/>
                  </a:cubicBezTo>
                  <a:cubicBezTo>
                    <a:pt x="1853" y="112"/>
                    <a:pt x="1866" y="116"/>
                    <a:pt x="1879" y="120"/>
                  </a:cubicBezTo>
                  <a:close/>
                  <a:moveTo>
                    <a:pt x="3559" y="1762"/>
                  </a:moveTo>
                  <a:cubicBezTo>
                    <a:pt x="3567" y="1778"/>
                    <a:pt x="3578" y="1801"/>
                    <a:pt x="3587" y="1824"/>
                  </a:cubicBezTo>
                  <a:cubicBezTo>
                    <a:pt x="3591" y="1836"/>
                    <a:pt x="3595" y="1848"/>
                    <a:pt x="3599" y="1859"/>
                  </a:cubicBezTo>
                  <a:cubicBezTo>
                    <a:pt x="3600" y="1861"/>
                    <a:pt x="3601" y="1864"/>
                    <a:pt x="3602" y="1867"/>
                  </a:cubicBezTo>
                  <a:cubicBezTo>
                    <a:pt x="3602" y="1869"/>
                    <a:pt x="3603" y="1872"/>
                    <a:pt x="3604" y="1875"/>
                  </a:cubicBezTo>
                  <a:cubicBezTo>
                    <a:pt x="3605" y="1880"/>
                    <a:pt x="3607" y="1885"/>
                    <a:pt x="3608" y="1889"/>
                  </a:cubicBezTo>
                  <a:cubicBezTo>
                    <a:pt x="3613" y="1908"/>
                    <a:pt x="3617" y="1920"/>
                    <a:pt x="3617" y="1920"/>
                  </a:cubicBezTo>
                  <a:cubicBezTo>
                    <a:pt x="3647" y="1912"/>
                    <a:pt x="3647" y="1912"/>
                    <a:pt x="3647" y="1912"/>
                  </a:cubicBezTo>
                  <a:cubicBezTo>
                    <a:pt x="3647" y="1912"/>
                    <a:pt x="3643" y="1899"/>
                    <a:pt x="3638" y="1881"/>
                  </a:cubicBezTo>
                  <a:cubicBezTo>
                    <a:pt x="3636" y="1876"/>
                    <a:pt x="3635" y="1871"/>
                    <a:pt x="3633" y="1866"/>
                  </a:cubicBezTo>
                  <a:cubicBezTo>
                    <a:pt x="3633" y="1864"/>
                    <a:pt x="3632" y="1861"/>
                    <a:pt x="3631" y="1858"/>
                  </a:cubicBezTo>
                  <a:cubicBezTo>
                    <a:pt x="3630" y="1855"/>
                    <a:pt x="3629" y="1852"/>
                    <a:pt x="3628" y="1849"/>
                  </a:cubicBezTo>
                  <a:cubicBezTo>
                    <a:pt x="3624" y="1838"/>
                    <a:pt x="3620" y="1825"/>
                    <a:pt x="3615" y="1813"/>
                  </a:cubicBezTo>
                  <a:cubicBezTo>
                    <a:pt x="3606" y="1789"/>
                    <a:pt x="3595" y="1765"/>
                    <a:pt x="3586" y="1748"/>
                  </a:cubicBezTo>
                  <a:cubicBezTo>
                    <a:pt x="3581" y="1739"/>
                    <a:pt x="3577" y="1732"/>
                    <a:pt x="3574" y="1727"/>
                  </a:cubicBezTo>
                  <a:cubicBezTo>
                    <a:pt x="3571" y="1722"/>
                    <a:pt x="3570" y="1719"/>
                    <a:pt x="3570" y="1719"/>
                  </a:cubicBezTo>
                  <a:cubicBezTo>
                    <a:pt x="3544" y="1734"/>
                    <a:pt x="3544" y="1734"/>
                    <a:pt x="3544" y="1734"/>
                  </a:cubicBezTo>
                  <a:cubicBezTo>
                    <a:pt x="3544" y="1734"/>
                    <a:pt x="3545" y="1737"/>
                    <a:pt x="3548" y="1742"/>
                  </a:cubicBezTo>
                  <a:cubicBezTo>
                    <a:pt x="3551" y="1747"/>
                    <a:pt x="3555" y="1753"/>
                    <a:pt x="3559" y="1762"/>
                  </a:cubicBezTo>
                  <a:close/>
                  <a:moveTo>
                    <a:pt x="48" y="70"/>
                  </a:moveTo>
                  <a:cubicBezTo>
                    <a:pt x="24" y="76"/>
                    <a:pt x="0" y="84"/>
                    <a:pt x="0" y="84"/>
                  </a:cubicBezTo>
                  <a:cubicBezTo>
                    <a:pt x="0" y="86"/>
                    <a:pt x="0" y="86"/>
                    <a:pt x="0" y="86"/>
                  </a:cubicBezTo>
                  <a:cubicBezTo>
                    <a:pt x="0" y="86"/>
                    <a:pt x="24" y="79"/>
                    <a:pt x="48" y="73"/>
                  </a:cubicBezTo>
                  <a:cubicBezTo>
                    <a:pt x="73" y="66"/>
                    <a:pt x="97" y="61"/>
                    <a:pt x="97" y="61"/>
                  </a:cubicBezTo>
                  <a:cubicBezTo>
                    <a:pt x="96" y="58"/>
                    <a:pt x="96" y="58"/>
                    <a:pt x="96" y="58"/>
                  </a:cubicBezTo>
                  <a:cubicBezTo>
                    <a:pt x="96" y="58"/>
                    <a:pt x="72" y="63"/>
                    <a:pt x="48" y="70"/>
                  </a:cubicBezTo>
                  <a:close/>
                  <a:moveTo>
                    <a:pt x="1473" y="37"/>
                  </a:moveTo>
                  <a:cubicBezTo>
                    <a:pt x="1417" y="33"/>
                    <a:pt x="1363" y="30"/>
                    <a:pt x="1311" y="27"/>
                  </a:cubicBezTo>
                  <a:cubicBezTo>
                    <a:pt x="1311" y="32"/>
                    <a:pt x="1311" y="36"/>
                    <a:pt x="1311" y="40"/>
                  </a:cubicBezTo>
                  <a:cubicBezTo>
                    <a:pt x="1363" y="44"/>
                    <a:pt x="1417" y="47"/>
                    <a:pt x="1473" y="51"/>
                  </a:cubicBezTo>
                  <a:cubicBezTo>
                    <a:pt x="1473" y="46"/>
                    <a:pt x="1473" y="42"/>
                    <a:pt x="1473" y="37"/>
                  </a:cubicBezTo>
                  <a:close/>
                  <a:moveTo>
                    <a:pt x="747" y="8"/>
                  </a:moveTo>
                  <a:cubicBezTo>
                    <a:pt x="720" y="7"/>
                    <a:pt x="695" y="7"/>
                    <a:pt x="673" y="6"/>
                  </a:cubicBezTo>
                  <a:cubicBezTo>
                    <a:pt x="629" y="5"/>
                    <a:pt x="595" y="5"/>
                    <a:pt x="571" y="4"/>
                  </a:cubicBezTo>
                  <a:cubicBezTo>
                    <a:pt x="559" y="3"/>
                    <a:pt x="550" y="3"/>
                    <a:pt x="544" y="2"/>
                  </a:cubicBezTo>
                  <a:cubicBezTo>
                    <a:pt x="541" y="2"/>
                    <a:pt x="539" y="2"/>
                    <a:pt x="537" y="1"/>
                  </a:cubicBezTo>
                  <a:cubicBezTo>
                    <a:pt x="536" y="1"/>
                    <a:pt x="535" y="0"/>
                    <a:pt x="535" y="0"/>
                  </a:cubicBezTo>
                  <a:cubicBezTo>
                    <a:pt x="535" y="0"/>
                    <a:pt x="536" y="1"/>
                    <a:pt x="537" y="1"/>
                  </a:cubicBezTo>
                  <a:cubicBezTo>
                    <a:pt x="539" y="2"/>
                    <a:pt x="541" y="2"/>
                    <a:pt x="544" y="3"/>
                  </a:cubicBezTo>
                  <a:cubicBezTo>
                    <a:pt x="550" y="4"/>
                    <a:pt x="559" y="6"/>
                    <a:pt x="571" y="7"/>
                  </a:cubicBezTo>
                  <a:cubicBezTo>
                    <a:pt x="594" y="9"/>
                    <a:pt x="629" y="12"/>
                    <a:pt x="673" y="15"/>
                  </a:cubicBezTo>
                  <a:cubicBezTo>
                    <a:pt x="695" y="16"/>
                    <a:pt x="720" y="17"/>
                    <a:pt x="746" y="18"/>
                  </a:cubicBezTo>
                  <a:cubicBezTo>
                    <a:pt x="763" y="19"/>
                    <a:pt x="780" y="19"/>
                    <a:pt x="798" y="20"/>
                  </a:cubicBezTo>
                  <a:cubicBezTo>
                    <a:pt x="798" y="16"/>
                    <a:pt x="798" y="12"/>
                    <a:pt x="797" y="9"/>
                  </a:cubicBezTo>
                  <a:cubicBezTo>
                    <a:pt x="780" y="8"/>
                    <a:pt x="763" y="8"/>
                    <a:pt x="747" y="8"/>
                  </a:cubicBezTo>
                  <a:close/>
                  <a:moveTo>
                    <a:pt x="400" y="20"/>
                  </a:moveTo>
                  <a:cubicBezTo>
                    <a:pt x="374" y="22"/>
                    <a:pt x="349" y="23"/>
                    <a:pt x="330" y="25"/>
                  </a:cubicBezTo>
                  <a:cubicBezTo>
                    <a:pt x="311" y="26"/>
                    <a:pt x="298" y="27"/>
                    <a:pt x="298" y="27"/>
                  </a:cubicBezTo>
                  <a:cubicBezTo>
                    <a:pt x="298" y="31"/>
                    <a:pt x="298" y="31"/>
                    <a:pt x="298" y="31"/>
                  </a:cubicBezTo>
                  <a:cubicBezTo>
                    <a:pt x="298" y="31"/>
                    <a:pt x="311" y="30"/>
                    <a:pt x="330" y="29"/>
                  </a:cubicBezTo>
                  <a:cubicBezTo>
                    <a:pt x="349" y="27"/>
                    <a:pt x="374" y="26"/>
                    <a:pt x="400" y="25"/>
                  </a:cubicBezTo>
                  <a:cubicBezTo>
                    <a:pt x="451" y="22"/>
                    <a:pt x="502" y="22"/>
                    <a:pt x="502" y="22"/>
                  </a:cubicBezTo>
                  <a:cubicBezTo>
                    <a:pt x="502" y="17"/>
                    <a:pt x="502" y="17"/>
                    <a:pt x="502" y="17"/>
                  </a:cubicBezTo>
                  <a:cubicBezTo>
                    <a:pt x="502" y="17"/>
                    <a:pt x="451" y="18"/>
                    <a:pt x="400" y="20"/>
                  </a:cubicBezTo>
                  <a:close/>
                  <a:moveTo>
                    <a:pt x="3411" y="1539"/>
                  </a:moveTo>
                  <a:cubicBezTo>
                    <a:pt x="3396" y="1527"/>
                    <a:pt x="3375" y="1512"/>
                    <a:pt x="3354" y="1498"/>
                  </a:cubicBezTo>
                  <a:cubicBezTo>
                    <a:pt x="3332" y="1483"/>
                    <a:pt x="3310" y="1470"/>
                    <a:pt x="3293" y="1461"/>
                  </a:cubicBezTo>
                  <a:cubicBezTo>
                    <a:pt x="3284" y="1456"/>
                    <a:pt x="3277" y="1452"/>
                    <a:pt x="3272" y="1450"/>
                  </a:cubicBezTo>
                  <a:cubicBezTo>
                    <a:pt x="3267" y="1447"/>
                    <a:pt x="3264" y="1446"/>
                    <a:pt x="3264" y="1446"/>
                  </a:cubicBezTo>
                  <a:cubicBezTo>
                    <a:pt x="3251" y="1470"/>
                    <a:pt x="3251" y="1470"/>
                    <a:pt x="3251" y="1470"/>
                  </a:cubicBezTo>
                  <a:cubicBezTo>
                    <a:pt x="3251" y="1470"/>
                    <a:pt x="3254" y="1472"/>
                    <a:pt x="3259" y="1474"/>
                  </a:cubicBezTo>
                  <a:cubicBezTo>
                    <a:pt x="3264" y="1477"/>
                    <a:pt x="3271" y="1481"/>
                    <a:pt x="3279" y="1485"/>
                  </a:cubicBezTo>
                  <a:cubicBezTo>
                    <a:pt x="3295" y="1495"/>
                    <a:pt x="3317" y="1507"/>
                    <a:pt x="3338" y="1521"/>
                  </a:cubicBezTo>
                  <a:cubicBezTo>
                    <a:pt x="3359" y="1535"/>
                    <a:pt x="3379" y="1550"/>
                    <a:pt x="3393" y="1562"/>
                  </a:cubicBezTo>
                  <a:cubicBezTo>
                    <a:pt x="3401" y="1568"/>
                    <a:pt x="3407" y="1573"/>
                    <a:pt x="3411" y="1576"/>
                  </a:cubicBezTo>
                  <a:cubicBezTo>
                    <a:pt x="3415" y="1580"/>
                    <a:pt x="3417" y="1582"/>
                    <a:pt x="3417" y="1582"/>
                  </a:cubicBezTo>
                  <a:cubicBezTo>
                    <a:pt x="3436" y="1560"/>
                    <a:pt x="3436" y="1560"/>
                    <a:pt x="3436" y="1560"/>
                  </a:cubicBezTo>
                  <a:cubicBezTo>
                    <a:pt x="3436" y="1560"/>
                    <a:pt x="3434" y="1558"/>
                    <a:pt x="3430" y="1554"/>
                  </a:cubicBezTo>
                  <a:cubicBezTo>
                    <a:pt x="3425" y="1551"/>
                    <a:pt x="3419" y="1545"/>
                    <a:pt x="3411" y="1539"/>
                  </a:cubicBezTo>
                  <a:close/>
                  <a:moveTo>
                    <a:pt x="3397" y="2879"/>
                  </a:moveTo>
                  <a:cubicBezTo>
                    <a:pt x="3391" y="2887"/>
                    <a:pt x="3384" y="2897"/>
                    <a:pt x="3376" y="2907"/>
                  </a:cubicBezTo>
                  <a:cubicBezTo>
                    <a:pt x="3361" y="2926"/>
                    <a:pt x="3346" y="2946"/>
                    <a:pt x="3346" y="2946"/>
                  </a:cubicBezTo>
                  <a:cubicBezTo>
                    <a:pt x="3374" y="2968"/>
                    <a:pt x="3374" y="2968"/>
                    <a:pt x="3374" y="2968"/>
                  </a:cubicBezTo>
                  <a:cubicBezTo>
                    <a:pt x="3374" y="2968"/>
                    <a:pt x="3390" y="2948"/>
                    <a:pt x="3405" y="2928"/>
                  </a:cubicBezTo>
                  <a:cubicBezTo>
                    <a:pt x="3413" y="2918"/>
                    <a:pt x="3420" y="2908"/>
                    <a:pt x="3426" y="2900"/>
                  </a:cubicBezTo>
                  <a:cubicBezTo>
                    <a:pt x="3431" y="2893"/>
                    <a:pt x="3435" y="2888"/>
                    <a:pt x="3435" y="2888"/>
                  </a:cubicBezTo>
                  <a:cubicBezTo>
                    <a:pt x="3406" y="2867"/>
                    <a:pt x="3406" y="2867"/>
                    <a:pt x="3406" y="2867"/>
                  </a:cubicBezTo>
                  <a:cubicBezTo>
                    <a:pt x="3406" y="2867"/>
                    <a:pt x="3402" y="2872"/>
                    <a:pt x="3397" y="2879"/>
                  </a:cubicBezTo>
                  <a:close/>
                  <a:moveTo>
                    <a:pt x="2978" y="1333"/>
                  </a:moveTo>
                  <a:cubicBezTo>
                    <a:pt x="2966" y="1329"/>
                    <a:pt x="2953" y="1325"/>
                    <a:pt x="2942" y="1322"/>
                  </a:cubicBezTo>
                  <a:cubicBezTo>
                    <a:pt x="2936" y="1320"/>
                    <a:pt x="2931" y="1318"/>
                    <a:pt x="2925" y="1317"/>
                  </a:cubicBezTo>
                  <a:cubicBezTo>
                    <a:pt x="2920" y="1315"/>
                    <a:pt x="2915" y="1314"/>
                    <a:pt x="2910" y="1313"/>
                  </a:cubicBezTo>
                  <a:cubicBezTo>
                    <a:pt x="2892" y="1307"/>
                    <a:pt x="2880" y="1304"/>
                    <a:pt x="2880" y="1304"/>
                  </a:cubicBezTo>
                  <a:cubicBezTo>
                    <a:pt x="2873" y="1329"/>
                    <a:pt x="2873" y="1329"/>
                    <a:pt x="2873" y="1329"/>
                  </a:cubicBezTo>
                  <a:cubicBezTo>
                    <a:pt x="2873" y="1329"/>
                    <a:pt x="2885" y="1333"/>
                    <a:pt x="2903" y="1338"/>
                  </a:cubicBezTo>
                  <a:cubicBezTo>
                    <a:pt x="2908" y="1339"/>
                    <a:pt x="2913" y="1341"/>
                    <a:pt x="2918" y="1342"/>
                  </a:cubicBezTo>
                  <a:cubicBezTo>
                    <a:pt x="2923" y="1344"/>
                    <a:pt x="2929" y="1345"/>
                    <a:pt x="2934" y="1347"/>
                  </a:cubicBezTo>
                  <a:cubicBezTo>
                    <a:pt x="2946" y="1351"/>
                    <a:pt x="2958" y="1355"/>
                    <a:pt x="2970" y="1358"/>
                  </a:cubicBezTo>
                  <a:cubicBezTo>
                    <a:pt x="2994" y="1366"/>
                    <a:pt x="3018" y="1374"/>
                    <a:pt x="3036" y="1380"/>
                  </a:cubicBezTo>
                  <a:cubicBezTo>
                    <a:pt x="3054" y="1387"/>
                    <a:pt x="3066" y="1391"/>
                    <a:pt x="3066" y="1391"/>
                  </a:cubicBezTo>
                  <a:cubicBezTo>
                    <a:pt x="3075" y="1365"/>
                    <a:pt x="3075" y="1365"/>
                    <a:pt x="3075" y="1365"/>
                  </a:cubicBezTo>
                  <a:cubicBezTo>
                    <a:pt x="3075" y="1365"/>
                    <a:pt x="3063" y="1361"/>
                    <a:pt x="3045" y="1355"/>
                  </a:cubicBezTo>
                  <a:cubicBezTo>
                    <a:pt x="3027" y="1348"/>
                    <a:pt x="3002" y="1341"/>
                    <a:pt x="2978" y="1333"/>
                  </a:cubicBezTo>
                  <a:close/>
                  <a:moveTo>
                    <a:pt x="2579" y="1243"/>
                  </a:moveTo>
                  <a:cubicBezTo>
                    <a:pt x="2553" y="1239"/>
                    <a:pt x="2528" y="1236"/>
                    <a:pt x="2509" y="1234"/>
                  </a:cubicBezTo>
                  <a:cubicBezTo>
                    <a:pt x="2490" y="1231"/>
                    <a:pt x="2477" y="1230"/>
                    <a:pt x="2477" y="1230"/>
                  </a:cubicBezTo>
                  <a:cubicBezTo>
                    <a:pt x="2474" y="1254"/>
                    <a:pt x="2474" y="1254"/>
                    <a:pt x="2474" y="1254"/>
                  </a:cubicBezTo>
                  <a:cubicBezTo>
                    <a:pt x="2474" y="1254"/>
                    <a:pt x="2487" y="1256"/>
                    <a:pt x="2506" y="1258"/>
                  </a:cubicBezTo>
                  <a:cubicBezTo>
                    <a:pt x="2525" y="1260"/>
                    <a:pt x="2550" y="1264"/>
                    <a:pt x="2575" y="1268"/>
                  </a:cubicBezTo>
                  <a:cubicBezTo>
                    <a:pt x="2600" y="1271"/>
                    <a:pt x="2625" y="1275"/>
                    <a:pt x="2644" y="1279"/>
                  </a:cubicBezTo>
                  <a:cubicBezTo>
                    <a:pt x="2663" y="1282"/>
                    <a:pt x="2675" y="1284"/>
                    <a:pt x="2675" y="1284"/>
                  </a:cubicBezTo>
                  <a:cubicBezTo>
                    <a:pt x="2680" y="1259"/>
                    <a:pt x="2680" y="1259"/>
                    <a:pt x="2680" y="1259"/>
                  </a:cubicBezTo>
                  <a:cubicBezTo>
                    <a:pt x="2680" y="1259"/>
                    <a:pt x="2667" y="1257"/>
                    <a:pt x="2648" y="1254"/>
                  </a:cubicBezTo>
                  <a:cubicBezTo>
                    <a:pt x="2629" y="1251"/>
                    <a:pt x="2604" y="1247"/>
                    <a:pt x="2579" y="1243"/>
                  </a:cubicBezTo>
                  <a:close/>
                  <a:moveTo>
                    <a:pt x="3591" y="2521"/>
                  </a:moveTo>
                  <a:cubicBezTo>
                    <a:pt x="3589" y="2526"/>
                    <a:pt x="3587" y="2533"/>
                    <a:pt x="3583" y="2542"/>
                  </a:cubicBezTo>
                  <a:cubicBezTo>
                    <a:pt x="3577" y="2560"/>
                    <a:pt x="3567" y="2583"/>
                    <a:pt x="3557" y="2606"/>
                  </a:cubicBezTo>
                  <a:cubicBezTo>
                    <a:pt x="3547" y="2629"/>
                    <a:pt x="3536" y="2652"/>
                    <a:pt x="3528" y="2668"/>
                  </a:cubicBezTo>
                  <a:cubicBezTo>
                    <a:pt x="3519" y="2685"/>
                    <a:pt x="3513" y="2696"/>
                    <a:pt x="3513" y="2696"/>
                  </a:cubicBezTo>
                  <a:cubicBezTo>
                    <a:pt x="3544" y="2713"/>
                    <a:pt x="3544" y="2713"/>
                    <a:pt x="3544" y="2713"/>
                  </a:cubicBezTo>
                  <a:cubicBezTo>
                    <a:pt x="3544" y="2713"/>
                    <a:pt x="3550" y="2701"/>
                    <a:pt x="3558" y="2684"/>
                  </a:cubicBezTo>
                  <a:cubicBezTo>
                    <a:pt x="3567" y="2667"/>
                    <a:pt x="3578" y="2643"/>
                    <a:pt x="3589" y="2620"/>
                  </a:cubicBezTo>
                  <a:cubicBezTo>
                    <a:pt x="3599" y="2596"/>
                    <a:pt x="3608" y="2572"/>
                    <a:pt x="3615" y="2554"/>
                  </a:cubicBezTo>
                  <a:cubicBezTo>
                    <a:pt x="3618" y="2545"/>
                    <a:pt x="3621" y="2537"/>
                    <a:pt x="3623" y="2532"/>
                  </a:cubicBezTo>
                  <a:cubicBezTo>
                    <a:pt x="3625" y="2527"/>
                    <a:pt x="3626" y="2524"/>
                    <a:pt x="3626" y="2524"/>
                  </a:cubicBezTo>
                  <a:cubicBezTo>
                    <a:pt x="3594" y="2512"/>
                    <a:pt x="3594" y="2512"/>
                    <a:pt x="3594" y="2512"/>
                  </a:cubicBezTo>
                  <a:cubicBezTo>
                    <a:pt x="3594" y="2512"/>
                    <a:pt x="3593" y="2515"/>
                    <a:pt x="3591" y="2521"/>
                  </a:cubicBezTo>
                  <a:close/>
                  <a:moveTo>
                    <a:pt x="3682" y="2148"/>
                  </a:moveTo>
                  <a:cubicBezTo>
                    <a:pt x="3682" y="2138"/>
                    <a:pt x="3682" y="2130"/>
                    <a:pt x="3681" y="2124"/>
                  </a:cubicBezTo>
                  <a:cubicBezTo>
                    <a:pt x="3681" y="2119"/>
                    <a:pt x="3681" y="2116"/>
                    <a:pt x="3681" y="2116"/>
                  </a:cubicBezTo>
                  <a:cubicBezTo>
                    <a:pt x="3649" y="2118"/>
                    <a:pt x="3649" y="2118"/>
                    <a:pt x="3649" y="2118"/>
                  </a:cubicBezTo>
                  <a:cubicBezTo>
                    <a:pt x="3649" y="2118"/>
                    <a:pt x="3649" y="2121"/>
                    <a:pt x="3649" y="2126"/>
                  </a:cubicBezTo>
                  <a:cubicBezTo>
                    <a:pt x="3650" y="2132"/>
                    <a:pt x="3650" y="2140"/>
                    <a:pt x="3650" y="2149"/>
                  </a:cubicBezTo>
                  <a:cubicBezTo>
                    <a:pt x="3651" y="2168"/>
                    <a:pt x="3651" y="2193"/>
                    <a:pt x="3650" y="2218"/>
                  </a:cubicBezTo>
                  <a:cubicBezTo>
                    <a:pt x="3649" y="2243"/>
                    <a:pt x="3647" y="2268"/>
                    <a:pt x="3645" y="2287"/>
                  </a:cubicBezTo>
                  <a:cubicBezTo>
                    <a:pt x="3644" y="2296"/>
                    <a:pt x="3643" y="2304"/>
                    <a:pt x="3642" y="2309"/>
                  </a:cubicBezTo>
                  <a:cubicBezTo>
                    <a:pt x="3642" y="2315"/>
                    <a:pt x="3641" y="2318"/>
                    <a:pt x="3641" y="2318"/>
                  </a:cubicBezTo>
                  <a:cubicBezTo>
                    <a:pt x="3674" y="2322"/>
                    <a:pt x="3674" y="2322"/>
                    <a:pt x="3674" y="2322"/>
                  </a:cubicBezTo>
                  <a:cubicBezTo>
                    <a:pt x="3674" y="2322"/>
                    <a:pt x="3674" y="2319"/>
                    <a:pt x="3675" y="2313"/>
                  </a:cubicBezTo>
                  <a:cubicBezTo>
                    <a:pt x="3676" y="2308"/>
                    <a:pt x="3677" y="2300"/>
                    <a:pt x="3678" y="2290"/>
                  </a:cubicBezTo>
                  <a:cubicBezTo>
                    <a:pt x="3680" y="2271"/>
                    <a:pt x="3682" y="2245"/>
                    <a:pt x="3682" y="2219"/>
                  </a:cubicBezTo>
                  <a:cubicBezTo>
                    <a:pt x="3683" y="2193"/>
                    <a:pt x="3683" y="2167"/>
                    <a:pt x="3682" y="2148"/>
                  </a:cubicBezTo>
                  <a:close/>
                  <a:moveTo>
                    <a:pt x="2076" y="230"/>
                  </a:moveTo>
                  <a:cubicBezTo>
                    <a:pt x="2082" y="230"/>
                    <a:pt x="2088" y="229"/>
                    <a:pt x="2094" y="229"/>
                  </a:cubicBezTo>
                  <a:cubicBezTo>
                    <a:pt x="2083" y="211"/>
                    <a:pt x="2068" y="197"/>
                    <a:pt x="2052" y="185"/>
                  </a:cubicBezTo>
                  <a:cubicBezTo>
                    <a:pt x="2032" y="169"/>
                    <a:pt x="2010" y="156"/>
                    <a:pt x="1987" y="145"/>
                  </a:cubicBezTo>
                  <a:cubicBezTo>
                    <a:pt x="1974" y="139"/>
                    <a:pt x="1961" y="133"/>
                    <a:pt x="1948" y="128"/>
                  </a:cubicBezTo>
                  <a:cubicBezTo>
                    <a:pt x="1948" y="133"/>
                    <a:pt x="1947" y="139"/>
                    <a:pt x="1946" y="144"/>
                  </a:cubicBezTo>
                  <a:cubicBezTo>
                    <a:pt x="1958" y="149"/>
                    <a:pt x="1969" y="154"/>
                    <a:pt x="1980" y="159"/>
                  </a:cubicBezTo>
                  <a:cubicBezTo>
                    <a:pt x="2002" y="170"/>
                    <a:pt x="2023" y="182"/>
                    <a:pt x="2043" y="197"/>
                  </a:cubicBezTo>
                  <a:cubicBezTo>
                    <a:pt x="2055" y="207"/>
                    <a:pt x="2066" y="218"/>
                    <a:pt x="2076" y="230"/>
                  </a:cubicBezTo>
                  <a:close/>
                  <a:moveTo>
                    <a:pt x="1949" y="472"/>
                  </a:moveTo>
                  <a:cubicBezTo>
                    <a:pt x="1906" y="496"/>
                    <a:pt x="1861" y="515"/>
                    <a:pt x="1816" y="532"/>
                  </a:cubicBezTo>
                  <a:cubicBezTo>
                    <a:pt x="1814" y="533"/>
                    <a:pt x="1812" y="534"/>
                    <a:pt x="1810" y="535"/>
                  </a:cubicBezTo>
                  <a:cubicBezTo>
                    <a:pt x="1813" y="539"/>
                    <a:pt x="1816" y="544"/>
                    <a:pt x="1819" y="549"/>
                  </a:cubicBezTo>
                  <a:cubicBezTo>
                    <a:pt x="1820" y="549"/>
                    <a:pt x="1821" y="549"/>
                    <a:pt x="1822" y="548"/>
                  </a:cubicBezTo>
                  <a:cubicBezTo>
                    <a:pt x="1868" y="531"/>
                    <a:pt x="1914" y="511"/>
                    <a:pt x="1957" y="486"/>
                  </a:cubicBezTo>
                  <a:cubicBezTo>
                    <a:pt x="1961" y="484"/>
                    <a:pt x="1965" y="482"/>
                    <a:pt x="1969" y="480"/>
                  </a:cubicBezTo>
                  <a:cubicBezTo>
                    <a:pt x="1963" y="477"/>
                    <a:pt x="1958" y="474"/>
                    <a:pt x="1952" y="470"/>
                  </a:cubicBezTo>
                  <a:cubicBezTo>
                    <a:pt x="1951" y="471"/>
                    <a:pt x="1950" y="471"/>
                    <a:pt x="1949" y="472"/>
                  </a:cubicBezTo>
                  <a:close/>
                  <a:moveTo>
                    <a:pt x="1835" y="1182"/>
                  </a:moveTo>
                  <a:cubicBezTo>
                    <a:pt x="1816" y="1180"/>
                    <a:pt x="1790" y="1179"/>
                    <a:pt x="1765" y="1178"/>
                  </a:cubicBezTo>
                  <a:cubicBezTo>
                    <a:pt x="1739" y="1177"/>
                    <a:pt x="1714" y="1176"/>
                    <a:pt x="1695" y="1175"/>
                  </a:cubicBezTo>
                  <a:cubicBezTo>
                    <a:pt x="1676" y="1174"/>
                    <a:pt x="1663" y="1173"/>
                    <a:pt x="1663" y="1173"/>
                  </a:cubicBezTo>
                  <a:cubicBezTo>
                    <a:pt x="1662" y="1194"/>
                    <a:pt x="1662" y="1194"/>
                    <a:pt x="1662" y="1194"/>
                  </a:cubicBezTo>
                  <a:cubicBezTo>
                    <a:pt x="1662" y="1194"/>
                    <a:pt x="1675" y="1195"/>
                    <a:pt x="1694" y="1196"/>
                  </a:cubicBezTo>
                  <a:cubicBezTo>
                    <a:pt x="1713" y="1197"/>
                    <a:pt x="1738" y="1198"/>
                    <a:pt x="1764" y="1199"/>
                  </a:cubicBezTo>
                  <a:cubicBezTo>
                    <a:pt x="1789" y="1200"/>
                    <a:pt x="1815" y="1202"/>
                    <a:pt x="1834" y="1203"/>
                  </a:cubicBezTo>
                  <a:cubicBezTo>
                    <a:pt x="1843" y="1204"/>
                    <a:pt x="1851" y="1204"/>
                    <a:pt x="1857" y="1205"/>
                  </a:cubicBezTo>
                  <a:cubicBezTo>
                    <a:pt x="1862" y="1205"/>
                    <a:pt x="1865" y="1205"/>
                    <a:pt x="1865" y="1205"/>
                  </a:cubicBezTo>
                  <a:cubicBezTo>
                    <a:pt x="1867" y="1184"/>
                    <a:pt x="1867" y="1184"/>
                    <a:pt x="1867" y="1184"/>
                  </a:cubicBezTo>
                  <a:cubicBezTo>
                    <a:pt x="1867" y="1184"/>
                    <a:pt x="1864" y="1184"/>
                    <a:pt x="1858" y="1183"/>
                  </a:cubicBezTo>
                  <a:cubicBezTo>
                    <a:pt x="1853" y="1183"/>
                    <a:pt x="1845" y="1182"/>
                    <a:pt x="1835" y="1182"/>
                  </a:cubicBezTo>
                  <a:close/>
                  <a:moveTo>
                    <a:pt x="2069" y="1220"/>
                  </a:moveTo>
                  <a:cubicBezTo>
                    <a:pt x="2272" y="1234"/>
                    <a:pt x="2272" y="1234"/>
                    <a:pt x="2272" y="1234"/>
                  </a:cubicBezTo>
                  <a:cubicBezTo>
                    <a:pt x="2274" y="1211"/>
                    <a:pt x="2274" y="1211"/>
                    <a:pt x="2274" y="1211"/>
                  </a:cubicBezTo>
                  <a:cubicBezTo>
                    <a:pt x="2070" y="1197"/>
                    <a:pt x="2070" y="1197"/>
                    <a:pt x="2070" y="1197"/>
                  </a:cubicBezTo>
                  <a:lnTo>
                    <a:pt x="2069" y="1220"/>
                  </a:lnTo>
                  <a:close/>
                  <a:moveTo>
                    <a:pt x="2100" y="361"/>
                  </a:moveTo>
                  <a:cubicBezTo>
                    <a:pt x="2105" y="349"/>
                    <a:pt x="2110" y="337"/>
                    <a:pt x="2113" y="324"/>
                  </a:cubicBezTo>
                  <a:cubicBezTo>
                    <a:pt x="2113" y="321"/>
                    <a:pt x="2114" y="319"/>
                    <a:pt x="2114" y="316"/>
                  </a:cubicBezTo>
                  <a:cubicBezTo>
                    <a:pt x="2113" y="316"/>
                    <a:pt x="2113" y="316"/>
                    <a:pt x="2112" y="316"/>
                  </a:cubicBezTo>
                  <a:cubicBezTo>
                    <a:pt x="2107" y="316"/>
                    <a:pt x="2102" y="316"/>
                    <a:pt x="2098" y="316"/>
                  </a:cubicBezTo>
                  <a:cubicBezTo>
                    <a:pt x="2097" y="317"/>
                    <a:pt x="2097" y="319"/>
                    <a:pt x="2097" y="320"/>
                  </a:cubicBezTo>
                  <a:cubicBezTo>
                    <a:pt x="2094" y="332"/>
                    <a:pt x="2090" y="343"/>
                    <a:pt x="2085" y="354"/>
                  </a:cubicBezTo>
                  <a:cubicBezTo>
                    <a:pt x="2080" y="365"/>
                    <a:pt x="2073" y="375"/>
                    <a:pt x="2066" y="384"/>
                  </a:cubicBezTo>
                  <a:cubicBezTo>
                    <a:pt x="2051" y="403"/>
                    <a:pt x="2033" y="419"/>
                    <a:pt x="2013" y="432"/>
                  </a:cubicBezTo>
                  <a:cubicBezTo>
                    <a:pt x="2019" y="435"/>
                    <a:pt x="2024" y="437"/>
                    <a:pt x="2030" y="439"/>
                  </a:cubicBezTo>
                  <a:cubicBezTo>
                    <a:pt x="2031" y="439"/>
                    <a:pt x="2031" y="439"/>
                    <a:pt x="2032" y="439"/>
                  </a:cubicBezTo>
                  <a:cubicBezTo>
                    <a:pt x="2049" y="426"/>
                    <a:pt x="2065" y="412"/>
                    <a:pt x="2079" y="395"/>
                  </a:cubicBezTo>
                  <a:cubicBezTo>
                    <a:pt x="2087" y="384"/>
                    <a:pt x="2094" y="373"/>
                    <a:pt x="2100" y="361"/>
                  </a:cubicBezTo>
                  <a:close/>
                  <a:moveTo>
                    <a:pt x="1733" y="579"/>
                  </a:moveTo>
                  <a:cubicBezTo>
                    <a:pt x="1730" y="574"/>
                    <a:pt x="1728" y="569"/>
                    <a:pt x="1725" y="564"/>
                  </a:cubicBezTo>
                  <a:cubicBezTo>
                    <a:pt x="1710" y="568"/>
                    <a:pt x="1695" y="573"/>
                    <a:pt x="1680" y="578"/>
                  </a:cubicBezTo>
                  <a:cubicBezTo>
                    <a:pt x="1638" y="591"/>
                    <a:pt x="1596" y="604"/>
                    <a:pt x="1555" y="618"/>
                  </a:cubicBezTo>
                  <a:cubicBezTo>
                    <a:pt x="1557" y="623"/>
                    <a:pt x="1559" y="628"/>
                    <a:pt x="1561" y="634"/>
                  </a:cubicBezTo>
                  <a:cubicBezTo>
                    <a:pt x="1601" y="620"/>
                    <a:pt x="1643" y="607"/>
                    <a:pt x="1685" y="594"/>
                  </a:cubicBezTo>
                  <a:cubicBezTo>
                    <a:pt x="1701" y="589"/>
                    <a:pt x="1717" y="584"/>
                    <a:pt x="1733" y="57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77"/>
            <p:cNvSpPr>
              <a:spLocks/>
            </p:cNvSpPr>
            <p:nvPr/>
          </p:nvSpPr>
          <p:spPr bwMode="auto">
            <a:xfrm>
              <a:off x="-3859698" y="1078717"/>
              <a:ext cx="10910891" cy="5975697"/>
            </a:xfrm>
            <a:custGeom>
              <a:avLst/>
              <a:gdLst>
                <a:gd name="T0" fmla="*/ 889 w 5391"/>
                <a:gd name="T1" fmla="*/ 185 h 2951"/>
                <a:gd name="T2" fmla="*/ 1785 w 5391"/>
                <a:gd name="T3" fmla="*/ 25 h 2951"/>
                <a:gd name="T4" fmla="*/ 2012 w 5391"/>
                <a:gd name="T5" fmla="*/ 1 h 2951"/>
                <a:gd name="T6" fmla="*/ 2126 w 5391"/>
                <a:gd name="T7" fmla="*/ 0 h 2951"/>
                <a:gd name="T8" fmla="*/ 2919 w 5391"/>
                <a:gd name="T9" fmla="*/ 83 h 2951"/>
                <a:gd name="T10" fmla="*/ 3021 w 5391"/>
                <a:gd name="T11" fmla="*/ 101 h 2951"/>
                <a:gd name="T12" fmla="*/ 3141 w 5391"/>
                <a:gd name="T13" fmla="*/ 132 h 2951"/>
                <a:gd name="T14" fmla="*/ 3485 w 5391"/>
                <a:gd name="T15" fmla="*/ 396 h 2951"/>
                <a:gd name="T16" fmla="*/ 3470 w 5391"/>
                <a:gd name="T17" fmla="*/ 473 h 2951"/>
                <a:gd name="T18" fmla="*/ 3439 w 5391"/>
                <a:gd name="T19" fmla="*/ 525 h 2951"/>
                <a:gd name="T20" fmla="*/ 3136 w 5391"/>
                <a:gd name="T21" fmla="*/ 676 h 2951"/>
                <a:gd name="T22" fmla="*/ 2748 w 5391"/>
                <a:gd name="T23" fmla="*/ 800 h 2951"/>
                <a:gd name="T24" fmla="*/ 2670 w 5391"/>
                <a:gd name="T25" fmla="*/ 873 h 2951"/>
                <a:gd name="T26" fmla="*/ 2687 w 5391"/>
                <a:gd name="T27" fmla="*/ 1019 h 2951"/>
                <a:gd name="T28" fmla="*/ 2707 w 5391"/>
                <a:gd name="T29" fmla="*/ 1039 h 2951"/>
                <a:gd name="T30" fmla="*/ 2731 w 5391"/>
                <a:gd name="T31" fmla="*/ 1056 h 2951"/>
                <a:gd name="T32" fmla="*/ 3000 w 5391"/>
                <a:gd name="T33" fmla="*/ 1121 h 2951"/>
                <a:gd name="T34" fmla="*/ 3350 w 5391"/>
                <a:gd name="T35" fmla="*/ 1126 h 2951"/>
                <a:gd name="T36" fmla="*/ 3375 w 5391"/>
                <a:gd name="T37" fmla="*/ 1125 h 2951"/>
                <a:gd name="T38" fmla="*/ 3956 w 5391"/>
                <a:gd name="T39" fmla="*/ 1134 h 2951"/>
                <a:gd name="T40" fmla="*/ 4852 w 5391"/>
                <a:gd name="T41" fmla="*/ 1453 h 2951"/>
                <a:gd name="T42" fmla="*/ 5176 w 5391"/>
                <a:gd name="T43" fmla="*/ 1757 h 2951"/>
                <a:gd name="T44" fmla="*/ 5301 w 5391"/>
                <a:gd name="T45" fmla="*/ 1963 h 2951"/>
                <a:gd name="T46" fmla="*/ 5383 w 5391"/>
                <a:gd name="T47" fmla="*/ 2228 h 2951"/>
                <a:gd name="T48" fmla="*/ 5353 w 5391"/>
                <a:gd name="T49" fmla="*/ 2458 h 2951"/>
                <a:gd name="T50" fmla="*/ 5347 w 5391"/>
                <a:gd name="T51" fmla="*/ 2512 h 2951"/>
                <a:gd name="T52" fmla="*/ 5344 w 5391"/>
                <a:gd name="T53" fmla="*/ 2595 h 2951"/>
                <a:gd name="T54" fmla="*/ 5345 w 5391"/>
                <a:gd name="T55" fmla="*/ 2620 h 2951"/>
                <a:gd name="T56" fmla="*/ 5382 w 5391"/>
                <a:gd name="T57" fmla="*/ 2808 h 2951"/>
                <a:gd name="T58" fmla="*/ 5390 w 5391"/>
                <a:gd name="T59" fmla="*/ 2873 h 2951"/>
                <a:gd name="T60" fmla="*/ 5386 w 5391"/>
                <a:gd name="T61" fmla="*/ 2939 h 2951"/>
                <a:gd name="T62" fmla="*/ 5350 w 5391"/>
                <a:gd name="T63" fmla="*/ 2915 h 2951"/>
                <a:gd name="T64" fmla="*/ 5370 w 5391"/>
                <a:gd name="T65" fmla="*/ 2915 h 2951"/>
                <a:gd name="T66" fmla="*/ 5369 w 5391"/>
                <a:gd name="T67" fmla="*/ 2853 h 2951"/>
                <a:gd name="T68" fmla="*/ 5336 w 5391"/>
                <a:gd name="T69" fmla="*/ 2686 h 2951"/>
                <a:gd name="T70" fmla="*/ 5325 w 5391"/>
                <a:gd name="T71" fmla="*/ 2601 h 2951"/>
                <a:gd name="T72" fmla="*/ 5325 w 5391"/>
                <a:gd name="T73" fmla="*/ 2589 h 2951"/>
                <a:gd name="T74" fmla="*/ 5328 w 5391"/>
                <a:gd name="T75" fmla="*/ 2509 h 2951"/>
                <a:gd name="T76" fmla="*/ 5336 w 5391"/>
                <a:gd name="T77" fmla="*/ 2438 h 2951"/>
                <a:gd name="T78" fmla="*/ 5333 w 5391"/>
                <a:gd name="T79" fmla="*/ 2096 h 2951"/>
                <a:gd name="T80" fmla="*/ 5182 w 5391"/>
                <a:gd name="T81" fmla="*/ 1795 h 2951"/>
                <a:gd name="T82" fmla="*/ 4951 w 5391"/>
                <a:gd name="T83" fmla="*/ 1548 h 2951"/>
                <a:gd name="T84" fmla="*/ 4222 w 5391"/>
                <a:gd name="T85" fmla="*/ 1196 h 2951"/>
                <a:gd name="T86" fmla="*/ 3409 w 5391"/>
                <a:gd name="T87" fmla="*/ 1137 h 2951"/>
                <a:gd name="T88" fmla="*/ 3352 w 5391"/>
                <a:gd name="T89" fmla="*/ 1138 h 2951"/>
                <a:gd name="T90" fmla="*/ 3136 w 5391"/>
                <a:gd name="T91" fmla="*/ 1138 h 2951"/>
                <a:gd name="T92" fmla="*/ 2733 w 5391"/>
                <a:gd name="T93" fmla="*/ 1070 h 2951"/>
                <a:gd name="T94" fmla="*/ 2704 w 5391"/>
                <a:gd name="T95" fmla="*/ 1050 h 2951"/>
                <a:gd name="T96" fmla="*/ 2685 w 5391"/>
                <a:gd name="T97" fmla="*/ 1032 h 2951"/>
                <a:gd name="T98" fmla="*/ 2657 w 5391"/>
                <a:gd name="T99" fmla="*/ 876 h 2951"/>
                <a:gd name="T100" fmla="*/ 2713 w 5391"/>
                <a:gd name="T101" fmla="*/ 810 h 2951"/>
                <a:gd name="T102" fmla="*/ 3067 w 5391"/>
                <a:gd name="T103" fmla="*/ 683 h 2951"/>
                <a:gd name="T104" fmla="*/ 3383 w 5391"/>
                <a:gd name="T105" fmla="*/ 565 h 2951"/>
                <a:gd name="T106" fmla="*/ 3459 w 5391"/>
                <a:gd name="T107" fmla="*/ 477 h 2951"/>
                <a:gd name="T108" fmla="*/ 3477 w 5391"/>
                <a:gd name="T109" fmla="*/ 397 h 2951"/>
                <a:gd name="T110" fmla="*/ 3139 w 5391"/>
                <a:gd name="T111" fmla="*/ 139 h 2951"/>
                <a:gd name="T112" fmla="*/ 3019 w 5391"/>
                <a:gd name="T113" fmla="*/ 108 h 2951"/>
                <a:gd name="T114" fmla="*/ 2918 w 5391"/>
                <a:gd name="T115" fmla="*/ 89 h 2951"/>
                <a:gd name="T116" fmla="*/ 2126 w 5391"/>
                <a:gd name="T117" fmla="*/ 5 h 2951"/>
                <a:gd name="T118" fmla="*/ 2012 w 5391"/>
                <a:gd name="T119" fmla="*/ 5 h 2951"/>
                <a:gd name="T120" fmla="*/ 1786 w 5391"/>
                <a:gd name="T121" fmla="*/ 30 h 2951"/>
                <a:gd name="T122" fmla="*/ 889 w 5391"/>
                <a:gd name="T123" fmla="*/ 187 h 29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91" h="2951">
                  <a:moveTo>
                    <a:pt x="0" y="382"/>
                  </a:moveTo>
                  <a:cubicBezTo>
                    <a:pt x="146" y="342"/>
                    <a:pt x="293" y="303"/>
                    <a:pt x="441" y="268"/>
                  </a:cubicBezTo>
                  <a:cubicBezTo>
                    <a:pt x="515" y="251"/>
                    <a:pt x="589" y="235"/>
                    <a:pt x="664" y="221"/>
                  </a:cubicBezTo>
                  <a:cubicBezTo>
                    <a:pt x="738" y="207"/>
                    <a:pt x="813" y="195"/>
                    <a:pt x="889" y="185"/>
                  </a:cubicBezTo>
                  <a:cubicBezTo>
                    <a:pt x="1039" y="164"/>
                    <a:pt x="1189" y="142"/>
                    <a:pt x="1338" y="111"/>
                  </a:cubicBezTo>
                  <a:cubicBezTo>
                    <a:pt x="1375" y="104"/>
                    <a:pt x="1412" y="95"/>
                    <a:pt x="1449" y="87"/>
                  </a:cubicBezTo>
                  <a:cubicBezTo>
                    <a:pt x="1486" y="79"/>
                    <a:pt x="1524" y="71"/>
                    <a:pt x="1561" y="64"/>
                  </a:cubicBezTo>
                  <a:cubicBezTo>
                    <a:pt x="1635" y="49"/>
                    <a:pt x="1710" y="35"/>
                    <a:pt x="1785" y="25"/>
                  </a:cubicBezTo>
                  <a:cubicBezTo>
                    <a:pt x="1814" y="22"/>
                    <a:pt x="1814" y="22"/>
                    <a:pt x="1814" y="22"/>
                  </a:cubicBezTo>
                  <a:cubicBezTo>
                    <a:pt x="1823" y="20"/>
                    <a:pt x="1832" y="19"/>
                    <a:pt x="1842" y="18"/>
                  </a:cubicBezTo>
                  <a:cubicBezTo>
                    <a:pt x="1860" y="14"/>
                    <a:pt x="1879" y="12"/>
                    <a:pt x="1898" y="9"/>
                  </a:cubicBezTo>
                  <a:cubicBezTo>
                    <a:pt x="1936" y="5"/>
                    <a:pt x="1974" y="2"/>
                    <a:pt x="2012" y="1"/>
                  </a:cubicBezTo>
                  <a:cubicBezTo>
                    <a:pt x="2021" y="0"/>
                    <a:pt x="2031" y="0"/>
                    <a:pt x="2040" y="0"/>
                  </a:cubicBezTo>
                  <a:cubicBezTo>
                    <a:pt x="2069" y="0"/>
                    <a:pt x="2069" y="0"/>
                    <a:pt x="2069" y="0"/>
                  </a:cubicBezTo>
                  <a:cubicBezTo>
                    <a:pt x="2097" y="0"/>
                    <a:pt x="2097" y="0"/>
                    <a:pt x="2097" y="0"/>
                  </a:cubicBezTo>
                  <a:cubicBezTo>
                    <a:pt x="2107" y="0"/>
                    <a:pt x="2116" y="0"/>
                    <a:pt x="2126" y="0"/>
                  </a:cubicBezTo>
                  <a:cubicBezTo>
                    <a:pt x="2164" y="1"/>
                    <a:pt x="2202" y="3"/>
                    <a:pt x="2240" y="6"/>
                  </a:cubicBezTo>
                  <a:cubicBezTo>
                    <a:pt x="2315" y="11"/>
                    <a:pt x="2391" y="18"/>
                    <a:pt x="2467" y="26"/>
                  </a:cubicBezTo>
                  <a:cubicBezTo>
                    <a:pt x="2693" y="52"/>
                    <a:pt x="2693" y="52"/>
                    <a:pt x="2693" y="52"/>
                  </a:cubicBezTo>
                  <a:cubicBezTo>
                    <a:pt x="2768" y="61"/>
                    <a:pt x="2844" y="71"/>
                    <a:pt x="2919" y="83"/>
                  </a:cubicBezTo>
                  <a:cubicBezTo>
                    <a:pt x="2937" y="86"/>
                    <a:pt x="2956" y="89"/>
                    <a:pt x="2975" y="92"/>
                  </a:cubicBezTo>
                  <a:cubicBezTo>
                    <a:pt x="2984" y="94"/>
                    <a:pt x="2994" y="96"/>
                    <a:pt x="3003" y="97"/>
                  </a:cubicBezTo>
                  <a:cubicBezTo>
                    <a:pt x="3017" y="100"/>
                    <a:pt x="3017" y="100"/>
                    <a:pt x="3017" y="100"/>
                  </a:cubicBezTo>
                  <a:cubicBezTo>
                    <a:pt x="3018" y="100"/>
                    <a:pt x="3019" y="100"/>
                    <a:pt x="3021" y="101"/>
                  </a:cubicBezTo>
                  <a:cubicBezTo>
                    <a:pt x="3024" y="102"/>
                    <a:pt x="3024" y="102"/>
                    <a:pt x="3024" y="102"/>
                  </a:cubicBezTo>
                  <a:cubicBezTo>
                    <a:pt x="3031" y="103"/>
                    <a:pt x="3031" y="103"/>
                    <a:pt x="3031" y="103"/>
                  </a:cubicBezTo>
                  <a:cubicBezTo>
                    <a:pt x="3086" y="118"/>
                    <a:pt x="3086" y="118"/>
                    <a:pt x="3086" y="118"/>
                  </a:cubicBezTo>
                  <a:cubicBezTo>
                    <a:pt x="3104" y="122"/>
                    <a:pt x="3123" y="127"/>
                    <a:pt x="3141" y="132"/>
                  </a:cubicBezTo>
                  <a:cubicBezTo>
                    <a:pt x="3178" y="142"/>
                    <a:pt x="3214" y="152"/>
                    <a:pt x="3250" y="166"/>
                  </a:cubicBezTo>
                  <a:cubicBezTo>
                    <a:pt x="3286" y="179"/>
                    <a:pt x="3321" y="195"/>
                    <a:pt x="3354" y="215"/>
                  </a:cubicBezTo>
                  <a:cubicBezTo>
                    <a:pt x="3386" y="235"/>
                    <a:pt x="3416" y="260"/>
                    <a:pt x="3440" y="291"/>
                  </a:cubicBezTo>
                  <a:cubicBezTo>
                    <a:pt x="3463" y="321"/>
                    <a:pt x="3479" y="358"/>
                    <a:pt x="3485" y="396"/>
                  </a:cubicBezTo>
                  <a:cubicBezTo>
                    <a:pt x="3486" y="396"/>
                    <a:pt x="3486" y="396"/>
                    <a:pt x="3486" y="396"/>
                  </a:cubicBezTo>
                  <a:cubicBezTo>
                    <a:pt x="3486" y="396"/>
                    <a:pt x="3486" y="396"/>
                    <a:pt x="3486" y="396"/>
                  </a:cubicBezTo>
                  <a:cubicBezTo>
                    <a:pt x="3486" y="420"/>
                    <a:pt x="3481" y="443"/>
                    <a:pt x="3474" y="465"/>
                  </a:cubicBezTo>
                  <a:cubicBezTo>
                    <a:pt x="3473" y="467"/>
                    <a:pt x="3472" y="470"/>
                    <a:pt x="3470" y="473"/>
                  </a:cubicBezTo>
                  <a:cubicBezTo>
                    <a:pt x="3467" y="481"/>
                    <a:pt x="3467" y="481"/>
                    <a:pt x="3467" y="481"/>
                  </a:cubicBezTo>
                  <a:cubicBezTo>
                    <a:pt x="3466" y="483"/>
                    <a:pt x="3464" y="486"/>
                    <a:pt x="3463" y="489"/>
                  </a:cubicBezTo>
                  <a:cubicBezTo>
                    <a:pt x="3462" y="491"/>
                    <a:pt x="3461" y="494"/>
                    <a:pt x="3459" y="496"/>
                  </a:cubicBezTo>
                  <a:cubicBezTo>
                    <a:pt x="3453" y="507"/>
                    <a:pt x="3446" y="516"/>
                    <a:pt x="3439" y="525"/>
                  </a:cubicBezTo>
                  <a:cubicBezTo>
                    <a:pt x="3424" y="543"/>
                    <a:pt x="3407" y="558"/>
                    <a:pt x="3388" y="572"/>
                  </a:cubicBezTo>
                  <a:cubicBezTo>
                    <a:pt x="3370" y="586"/>
                    <a:pt x="3350" y="597"/>
                    <a:pt x="3329" y="608"/>
                  </a:cubicBezTo>
                  <a:cubicBezTo>
                    <a:pt x="3288" y="628"/>
                    <a:pt x="3245" y="644"/>
                    <a:pt x="3202" y="657"/>
                  </a:cubicBezTo>
                  <a:cubicBezTo>
                    <a:pt x="3180" y="664"/>
                    <a:pt x="3158" y="670"/>
                    <a:pt x="3136" y="676"/>
                  </a:cubicBezTo>
                  <a:cubicBezTo>
                    <a:pt x="3113" y="681"/>
                    <a:pt x="3091" y="687"/>
                    <a:pt x="3069" y="692"/>
                  </a:cubicBezTo>
                  <a:cubicBezTo>
                    <a:pt x="3025" y="703"/>
                    <a:pt x="2981" y="714"/>
                    <a:pt x="2937" y="726"/>
                  </a:cubicBezTo>
                  <a:cubicBezTo>
                    <a:pt x="2894" y="739"/>
                    <a:pt x="2850" y="753"/>
                    <a:pt x="2808" y="770"/>
                  </a:cubicBezTo>
                  <a:cubicBezTo>
                    <a:pt x="2788" y="779"/>
                    <a:pt x="2767" y="788"/>
                    <a:pt x="2748" y="800"/>
                  </a:cubicBezTo>
                  <a:cubicBezTo>
                    <a:pt x="2738" y="805"/>
                    <a:pt x="2728" y="811"/>
                    <a:pt x="2719" y="818"/>
                  </a:cubicBezTo>
                  <a:cubicBezTo>
                    <a:pt x="2710" y="825"/>
                    <a:pt x="2702" y="832"/>
                    <a:pt x="2694" y="840"/>
                  </a:cubicBezTo>
                  <a:cubicBezTo>
                    <a:pt x="2686" y="847"/>
                    <a:pt x="2679" y="856"/>
                    <a:pt x="2674" y="865"/>
                  </a:cubicBezTo>
                  <a:cubicBezTo>
                    <a:pt x="2670" y="873"/>
                    <a:pt x="2670" y="873"/>
                    <a:pt x="2670" y="873"/>
                  </a:cubicBezTo>
                  <a:cubicBezTo>
                    <a:pt x="2668" y="875"/>
                    <a:pt x="2667" y="878"/>
                    <a:pt x="2666" y="880"/>
                  </a:cubicBezTo>
                  <a:cubicBezTo>
                    <a:pt x="2664" y="885"/>
                    <a:pt x="2662" y="890"/>
                    <a:pt x="2661" y="895"/>
                  </a:cubicBezTo>
                  <a:cubicBezTo>
                    <a:pt x="2655" y="916"/>
                    <a:pt x="2653" y="939"/>
                    <a:pt x="2659" y="960"/>
                  </a:cubicBezTo>
                  <a:cubicBezTo>
                    <a:pt x="2663" y="982"/>
                    <a:pt x="2673" y="1002"/>
                    <a:pt x="2687" y="1019"/>
                  </a:cubicBezTo>
                  <a:cubicBezTo>
                    <a:pt x="2689" y="1021"/>
                    <a:pt x="2691" y="1023"/>
                    <a:pt x="2693" y="1025"/>
                  </a:cubicBezTo>
                  <a:cubicBezTo>
                    <a:pt x="2695" y="1027"/>
                    <a:pt x="2696" y="1029"/>
                    <a:pt x="2698" y="1031"/>
                  </a:cubicBezTo>
                  <a:cubicBezTo>
                    <a:pt x="2704" y="1036"/>
                    <a:pt x="2704" y="1036"/>
                    <a:pt x="2704" y="1036"/>
                  </a:cubicBezTo>
                  <a:cubicBezTo>
                    <a:pt x="2707" y="1039"/>
                    <a:pt x="2707" y="1039"/>
                    <a:pt x="2707" y="1039"/>
                  </a:cubicBezTo>
                  <a:cubicBezTo>
                    <a:pt x="2711" y="1042"/>
                    <a:pt x="2711" y="1042"/>
                    <a:pt x="2711" y="1042"/>
                  </a:cubicBezTo>
                  <a:cubicBezTo>
                    <a:pt x="2713" y="1043"/>
                    <a:pt x="2715" y="1045"/>
                    <a:pt x="2717" y="1047"/>
                  </a:cubicBezTo>
                  <a:cubicBezTo>
                    <a:pt x="2724" y="1051"/>
                    <a:pt x="2724" y="1051"/>
                    <a:pt x="2724" y="1051"/>
                  </a:cubicBezTo>
                  <a:cubicBezTo>
                    <a:pt x="2726" y="1053"/>
                    <a:pt x="2729" y="1054"/>
                    <a:pt x="2731" y="1056"/>
                  </a:cubicBezTo>
                  <a:cubicBezTo>
                    <a:pt x="2734" y="1057"/>
                    <a:pt x="2736" y="1059"/>
                    <a:pt x="2738" y="1060"/>
                  </a:cubicBezTo>
                  <a:cubicBezTo>
                    <a:pt x="2758" y="1071"/>
                    <a:pt x="2779" y="1080"/>
                    <a:pt x="2800" y="1087"/>
                  </a:cubicBezTo>
                  <a:cubicBezTo>
                    <a:pt x="2821" y="1094"/>
                    <a:pt x="2843" y="1099"/>
                    <a:pt x="2865" y="1104"/>
                  </a:cubicBezTo>
                  <a:cubicBezTo>
                    <a:pt x="2910" y="1112"/>
                    <a:pt x="2955" y="1117"/>
                    <a:pt x="3000" y="1121"/>
                  </a:cubicBezTo>
                  <a:cubicBezTo>
                    <a:pt x="3045" y="1124"/>
                    <a:pt x="3091" y="1125"/>
                    <a:pt x="3136" y="1126"/>
                  </a:cubicBezTo>
                  <a:cubicBezTo>
                    <a:pt x="3182" y="1126"/>
                    <a:pt x="3227" y="1126"/>
                    <a:pt x="3273" y="1126"/>
                  </a:cubicBezTo>
                  <a:cubicBezTo>
                    <a:pt x="3295" y="1126"/>
                    <a:pt x="3318" y="1126"/>
                    <a:pt x="3341" y="1126"/>
                  </a:cubicBezTo>
                  <a:cubicBezTo>
                    <a:pt x="3350" y="1126"/>
                    <a:pt x="3350" y="1126"/>
                    <a:pt x="3350" y="1126"/>
                  </a:cubicBezTo>
                  <a:cubicBezTo>
                    <a:pt x="3352" y="1126"/>
                    <a:pt x="3352" y="1126"/>
                    <a:pt x="3352" y="1126"/>
                  </a:cubicBezTo>
                  <a:cubicBezTo>
                    <a:pt x="3354" y="1126"/>
                    <a:pt x="3354" y="1126"/>
                    <a:pt x="3354" y="1126"/>
                  </a:cubicBezTo>
                  <a:cubicBezTo>
                    <a:pt x="3358" y="1126"/>
                    <a:pt x="3358" y="1126"/>
                    <a:pt x="3358" y="1126"/>
                  </a:cubicBezTo>
                  <a:cubicBezTo>
                    <a:pt x="3375" y="1125"/>
                    <a:pt x="3375" y="1125"/>
                    <a:pt x="3375" y="1125"/>
                  </a:cubicBezTo>
                  <a:cubicBezTo>
                    <a:pt x="3409" y="1125"/>
                    <a:pt x="3409" y="1125"/>
                    <a:pt x="3409" y="1125"/>
                  </a:cubicBezTo>
                  <a:cubicBezTo>
                    <a:pt x="3682" y="1120"/>
                    <a:pt x="3682" y="1120"/>
                    <a:pt x="3682" y="1120"/>
                  </a:cubicBezTo>
                  <a:cubicBezTo>
                    <a:pt x="3728" y="1119"/>
                    <a:pt x="3774" y="1120"/>
                    <a:pt x="3819" y="1123"/>
                  </a:cubicBezTo>
                  <a:cubicBezTo>
                    <a:pt x="3865" y="1125"/>
                    <a:pt x="3911" y="1129"/>
                    <a:pt x="3956" y="1134"/>
                  </a:cubicBezTo>
                  <a:cubicBezTo>
                    <a:pt x="4047" y="1144"/>
                    <a:pt x="4137" y="1160"/>
                    <a:pt x="4226" y="1182"/>
                  </a:cubicBezTo>
                  <a:cubicBezTo>
                    <a:pt x="4315" y="1203"/>
                    <a:pt x="4402" y="1230"/>
                    <a:pt x="4487" y="1263"/>
                  </a:cubicBezTo>
                  <a:cubicBezTo>
                    <a:pt x="4573" y="1296"/>
                    <a:pt x="4656" y="1335"/>
                    <a:pt x="4735" y="1380"/>
                  </a:cubicBezTo>
                  <a:cubicBezTo>
                    <a:pt x="4775" y="1403"/>
                    <a:pt x="4814" y="1427"/>
                    <a:pt x="4852" y="1453"/>
                  </a:cubicBezTo>
                  <a:cubicBezTo>
                    <a:pt x="4889" y="1479"/>
                    <a:pt x="4926" y="1506"/>
                    <a:pt x="4961" y="1535"/>
                  </a:cubicBezTo>
                  <a:cubicBezTo>
                    <a:pt x="4997" y="1564"/>
                    <a:pt x="5031" y="1595"/>
                    <a:pt x="5063" y="1628"/>
                  </a:cubicBezTo>
                  <a:cubicBezTo>
                    <a:pt x="5095" y="1660"/>
                    <a:pt x="5126" y="1694"/>
                    <a:pt x="5155" y="1730"/>
                  </a:cubicBezTo>
                  <a:cubicBezTo>
                    <a:pt x="5162" y="1739"/>
                    <a:pt x="5169" y="1748"/>
                    <a:pt x="5176" y="1757"/>
                  </a:cubicBezTo>
                  <a:cubicBezTo>
                    <a:pt x="5183" y="1766"/>
                    <a:pt x="5190" y="1775"/>
                    <a:pt x="5196" y="1785"/>
                  </a:cubicBezTo>
                  <a:cubicBezTo>
                    <a:pt x="5203" y="1794"/>
                    <a:pt x="5210" y="1803"/>
                    <a:pt x="5216" y="1813"/>
                  </a:cubicBezTo>
                  <a:cubicBezTo>
                    <a:pt x="5223" y="1822"/>
                    <a:pt x="5229" y="1832"/>
                    <a:pt x="5235" y="1842"/>
                  </a:cubicBezTo>
                  <a:cubicBezTo>
                    <a:pt x="5259" y="1881"/>
                    <a:pt x="5281" y="1921"/>
                    <a:pt x="5301" y="1963"/>
                  </a:cubicBezTo>
                  <a:cubicBezTo>
                    <a:pt x="5320" y="2004"/>
                    <a:pt x="5336" y="2047"/>
                    <a:pt x="5350" y="2091"/>
                  </a:cubicBezTo>
                  <a:cubicBezTo>
                    <a:pt x="5364" y="2135"/>
                    <a:pt x="5374" y="2180"/>
                    <a:pt x="5383" y="2225"/>
                  </a:cubicBezTo>
                  <a:cubicBezTo>
                    <a:pt x="5383" y="2226"/>
                    <a:pt x="5383" y="2226"/>
                    <a:pt x="5383" y="2226"/>
                  </a:cubicBezTo>
                  <a:cubicBezTo>
                    <a:pt x="5383" y="2228"/>
                    <a:pt x="5383" y="2228"/>
                    <a:pt x="5383" y="2228"/>
                  </a:cubicBezTo>
                  <a:cubicBezTo>
                    <a:pt x="5364" y="2369"/>
                    <a:pt x="5364" y="2369"/>
                    <a:pt x="5364" y="2369"/>
                  </a:cubicBezTo>
                  <a:cubicBezTo>
                    <a:pt x="5355" y="2440"/>
                    <a:pt x="5355" y="2440"/>
                    <a:pt x="5355" y="2440"/>
                  </a:cubicBezTo>
                  <a:cubicBezTo>
                    <a:pt x="5354" y="2449"/>
                    <a:pt x="5354" y="2449"/>
                    <a:pt x="5354" y="2449"/>
                  </a:cubicBezTo>
                  <a:cubicBezTo>
                    <a:pt x="5353" y="2458"/>
                    <a:pt x="5353" y="2458"/>
                    <a:pt x="5353" y="2458"/>
                  </a:cubicBezTo>
                  <a:cubicBezTo>
                    <a:pt x="5351" y="2475"/>
                    <a:pt x="5351" y="2475"/>
                    <a:pt x="5351" y="2475"/>
                  </a:cubicBezTo>
                  <a:cubicBezTo>
                    <a:pt x="5347" y="2511"/>
                    <a:pt x="5347" y="2511"/>
                    <a:pt x="5347" y="2511"/>
                  </a:cubicBezTo>
                  <a:cubicBezTo>
                    <a:pt x="5347" y="2512"/>
                    <a:pt x="5347" y="2512"/>
                    <a:pt x="5347" y="2512"/>
                  </a:cubicBezTo>
                  <a:cubicBezTo>
                    <a:pt x="5347" y="2512"/>
                    <a:pt x="5347" y="2512"/>
                    <a:pt x="5347" y="2512"/>
                  </a:cubicBezTo>
                  <a:cubicBezTo>
                    <a:pt x="5343" y="2526"/>
                    <a:pt x="5343" y="2540"/>
                    <a:pt x="5343" y="2555"/>
                  </a:cubicBezTo>
                  <a:cubicBezTo>
                    <a:pt x="5343" y="2562"/>
                    <a:pt x="5343" y="2569"/>
                    <a:pt x="5344" y="2577"/>
                  </a:cubicBezTo>
                  <a:cubicBezTo>
                    <a:pt x="5344" y="2581"/>
                    <a:pt x="5344" y="2585"/>
                    <a:pt x="5344" y="2589"/>
                  </a:cubicBezTo>
                  <a:cubicBezTo>
                    <a:pt x="5344" y="2591"/>
                    <a:pt x="5344" y="2593"/>
                    <a:pt x="5344" y="2595"/>
                  </a:cubicBezTo>
                  <a:cubicBezTo>
                    <a:pt x="5344" y="2597"/>
                    <a:pt x="5344" y="2599"/>
                    <a:pt x="5344" y="2601"/>
                  </a:cubicBezTo>
                  <a:cubicBezTo>
                    <a:pt x="5344" y="2599"/>
                    <a:pt x="5344" y="2599"/>
                    <a:pt x="5344" y="2599"/>
                  </a:cubicBezTo>
                  <a:cubicBezTo>
                    <a:pt x="5345" y="2610"/>
                    <a:pt x="5345" y="2610"/>
                    <a:pt x="5345" y="2610"/>
                  </a:cubicBezTo>
                  <a:cubicBezTo>
                    <a:pt x="5345" y="2620"/>
                    <a:pt x="5345" y="2620"/>
                    <a:pt x="5345" y="2620"/>
                  </a:cubicBezTo>
                  <a:cubicBezTo>
                    <a:pt x="5346" y="2627"/>
                    <a:pt x="5347" y="2634"/>
                    <a:pt x="5348" y="2641"/>
                  </a:cubicBezTo>
                  <a:cubicBezTo>
                    <a:pt x="5350" y="2655"/>
                    <a:pt x="5352" y="2669"/>
                    <a:pt x="5355" y="2683"/>
                  </a:cubicBezTo>
                  <a:cubicBezTo>
                    <a:pt x="5360" y="2710"/>
                    <a:pt x="5367" y="2738"/>
                    <a:pt x="5373" y="2766"/>
                  </a:cubicBezTo>
                  <a:cubicBezTo>
                    <a:pt x="5376" y="2780"/>
                    <a:pt x="5379" y="2794"/>
                    <a:pt x="5382" y="2808"/>
                  </a:cubicBezTo>
                  <a:cubicBezTo>
                    <a:pt x="5383" y="2815"/>
                    <a:pt x="5384" y="2822"/>
                    <a:pt x="5386" y="2829"/>
                  </a:cubicBezTo>
                  <a:cubicBezTo>
                    <a:pt x="5387" y="2836"/>
                    <a:pt x="5388" y="2844"/>
                    <a:pt x="5388" y="2851"/>
                  </a:cubicBezTo>
                  <a:cubicBezTo>
                    <a:pt x="5389" y="2854"/>
                    <a:pt x="5389" y="2858"/>
                    <a:pt x="5389" y="2862"/>
                  </a:cubicBezTo>
                  <a:cubicBezTo>
                    <a:pt x="5390" y="2865"/>
                    <a:pt x="5390" y="2869"/>
                    <a:pt x="5390" y="2873"/>
                  </a:cubicBezTo>
                  <a:cubicBezTo>
                    <a:pt x="5391" y="2880"/>
                    <a:pt x="5391" y="2887"/>
                    <a:pt x="5391" y="2895"/>
                  </a:cubicBezTo>
                  <a:cubicBezTo>
                    <a:pt x="5390" y="2902"/>
                    <a:pt x="5390" y="2909"/>
                    <a:pt x="5389" y="2917"/>
                  </a:cubicBezTo>
                  <a:cubicBezTo>
                    <a:pt x="5388" y="2928"/>
                    <a:pt x="5388" y="2928"/>
                    <a:pt x="5388" y="2928"/>
                  </a:cubicBezTo>
                  <a:cubicBezTo>
                    <a:pt x="5386" y="2939"/>
                    <a:pt x="5386" y="2939"/>
                    <a:pt x="5386" y="2939"/>
                  </a:cubicBezTo>
                  <a:cubicBezTo>
                    <a:pt x="5384" y="2951"/>
                    <a:pt x="5384" y="2951"/>
                    <a:pt x="5384" y="2951"/>
                  </a:cubicBezTo>
                  <a:cubicBezTo>
                    <a:pt x="5372" y="2946"/>
                    <a:pt x="5372" y="2946"/>
                    <a:pt x="5372" y="2946"/>
                  </a:cubicBezTo>
                  <a:cubicBezTo>
                    <a:pt x="5342" y="2934"/>
                    <a:pt x="5342" y="2934"/>
                    <a:pt x="5342" y="2934"/>
                  </a:cubicBezTo>
                  <a:cubicBezTo>
                    <a:pt x="5350" y="2915"/>
                    <a:pt x="5350" y="2915"/>
                    <a:pt x="5350" y="2915"/>
                  </a:cubicBezTo>
                  <a:cubicBezTo>
                    <a:pt x="5380" y="2928"/>
                    <a:pt x="5380" y="2928"/>
                    <a:pt x="5380" y="2928"/>
                  </a:cubicBezTo>
                  <a:cubicBezTo>
                    <a:pt x="5366" y="2935"/>
                    <a:pt x="5366" y="2935"/>
                    <a:pt x="5366" y="2935"/>
                  </a:cubicBezTo>
                  <a:cubicBezTo>
                    <a:pt x="5368" y="2925"/>
                    <a:pt x="5368" y="2925"/>
                    <a:pt x="5368" y="2925"/>
                  </a:cubicBezTo>
                  <a:cubicBezTo>
                    <a:pt x="5370" y="2915"/>
                    <a:pt x="5370" y="2915"/>
                    <a:pt x="5370" y="2915"/>
                  </a:cubicBezTo>
                  <a:cubicBezTo>
                    <a:pt x="5370" y="2908"/>
                    <a:pt x="5371" y="2901"/>
                    <a:pt x="5371" y="2894"/>
                  </a:cubicBezTo>
                  <a:cubicBezTo>
                    <a:pt x="5371" y="2887"/>
                    <a:pt x="5371" y="2881"/>
                    <a:pt x="5370" y="2874"/>
                  </a:cubicBezTo>
                  <a:cubicBezTo>
                    <a:pt x="5370" y="2870"/>
                    <a:pt x="5370" y="2867"/>
                    <a:pt x="5370" y="2863"/>
                  </a:cubicBezTo>
                  <a:cubicBezTo>
                    <a:pt x="5369" y="2860"/>
                    <a:pt x="5369" y="2856"/>
                    <a:pt x="5369" y="2853"/>
                  </a:cubicBezTo>
                  <a:cubicBezTo>
                    <a:pt x="5368" y="2846"/>
                    <a:pt x="5367" y="2839"/>
                    <a:pt x="5366" y="2832"/>
                  </a:cubicBezTo>
                  <a:cubicBezTo>
                    <a:pt x="5365" y="2825"/>
                    <a:pt x="5364" y="2818"/>
                    <a:pt x="5363" y="2812"/>
                  </a:cubicBezTo>
                  <a:cubicBezTo>
                    <a:pt x="5360" y="2798"/>
                    <a:pt x="5357" y="2784"/>
                    <a:pt x="5354" y="2770"/>
                  </a:cubicBezTo>
                  <a:cubicBezTo>
                    <a:pt x="5348" y="2742"/>
                    <a:pt x="5342" y="2715"/>
                    <a:pt x="5336" y="2686"/>
                  </a:cubicBezTo>
                  <a:cubicBezTo>
                    <a:pt x="5333" y="2672"/>
                    <a:pt x="5331" y="2658"/>
                    <a:pt x="5329" y="2644"/>
                  </a:cubicBezTo>
                  <a:cubicBezTo>
                    <a:pt x="5328" y="2637"/>
                    <a:pt x="5327" y="2629"/>
                    <a:pt x="5326" y="2622"/>
                  </a:cubicBezTo>
                  <a:cubicBezTo>
                    <a:pt x="5325" y="2611"/>
                    <a:pt x="5325" y="2611"/>
                    <a:pt x="5325" y="2611"/>
                  </a:cubicBezTo>
                  <a:cubicBezTo>
                    <a:pt x="5325" y="2601"/>
                    <a:pt x="5325" y="2601"/>
                    <a:pt x="5325" y="2601"/>
                  </a:cubicBezTo>
                  <a:cubicBezTo>
                    <a:pt x="5325" y="2600"/>
                    <a:pt x="5325" y="2600"/>
                    <a:pt x="5325" y="2600"/>
                  </a:cubicBezTo>
                  <a:cubicBezTo>
                    <a:pt x="5325" y="2599"/>
                    <a:pt x="5325" y="2599"/>
                    <a:pt x="5325" y="2599"/>
                  </a:cubicBezTo>
                  <a:cubicBezTo>
                    <a:pt x="5325" y="2597"/>
                    <a:pt x="5325" y="2596"/>
                    <a:pt x="5325" y="2594"/>
                  </a:cubicBezTo>
                  <a:cubicBezTo>
                    <a:pt x="5325" y="2592"/>
                    <a:pt x="5325" y="2591"/>
                    <a:pt x="5325" y="2589"/>
                  </a:cubicBezTo>
                  <a:cubicBezTo>
                    <a:pt x="5325" y="2585"/>
                    <a:pt x="5325" y="2582"/>
                    <a:pt x="5325" y="2578"/>
                  </a:cubicBezTo>
                  <a:cubicBezTo>
                    <a:pt x="5324" y="2570"/>
                    <a:pt x="5324" y="2563"/>
                    <a:pt x="5324" y="2555"/>
                  </a:cubicBezTo>
                  <a:cubicBezTo>
                    <a:pt x="5324" y="2540"/>
                    <a:pt x="5324" y="2524"/>
                    <a:pt x="5328" y="2508"/>
                  </a:cubicBezTo>
                  <a:cubicBezTo>
                    <a:pt x="5328" y="2509"/>
                    <a:pt x="5328" y="2509"/>
                    <a:pt x="5328" y="2509"/>
                  </a:cubicBezTo>
                  <a:cubicBezTo>
                    <a:pt x="5332" y="2473"/>
                    <a:pt x="5332" y="2473"/>
                    <a:pt x="5332" y="2473"/>
                  </a:cubicBezTo>
                  <a:cubicBezTo>
                    <a:pt x="5334" y="2456"/>
                    <a:pt x="5334" y="2456"/>
                    <a:pt x="5334" y="2456"/>
                  </a:cubicBezTo>
                  <a:cubicBezTo>
                    <a:pt x="5335" y="2447"/>
                    <a:pt x="5335" y="2447"/>
                    <a:pt x="5335" y="2447"/>
                  </a:cubicBezTo>
                  <a:cubicBezTo>
                    <a:pt x="5336" y="2438"/>
                    <a:pt x="5336" y="2438"/>
                    <a:pt x="5336" y="2438"/>
                  </a:cubicBezTo>
                  <a:cubicBezTo>
                    <a:pt x="5346" y="2367"/>
                    <a:pt x="5346" y="2367"/>
                    <a:pt x="5346" y="2367"/>
                  </a:cubicBezTo>
                  <a:cubicBezTo>
                    <a:pt x="5365" y="2225"/>
                    <a:pt x="5365" y="2225"/>
                    <a:pt x="5365" y="2225"/>
                  </a:cubicBezTo>
                  <a:cubicBezTo>
                    <a:pt x="5365" y="2228"/>
                    <a:pt x="5365" y="2228"/>
                    <a:pt x="5365" y="2228"/>
                  </a:cubicBezTo>
                  <a:cubicBezTo>
                    <a:pt x="5356" y="2184"/>
                    <a:pt x="5346" y="2139"/>
                    <a:pt x="5333" y="2096"/>
                  </a:cubicBezTo>
                  <a:cubicBezTo>
                    <a:pt x="5320" y="2053"/>
                    <a:pt x="5304" y="2011"/>
                    <a:pt x="5285" y="1970"/>
                  </a:cubicBezTo>
                  <a:cubicBezTo>
                    <a:pt x="5266" y="1929"/>
                    <a:pt x="5244" y="1889"/>
                    <a:pt x="5220" y="1851"/>
                  </a:cubicBezTo>
                  <a:cubicBezTo>
                    <a:pt x="5214" y="1841"/>
                    <a:pt x="5208" y="1832"/>
                    <a:pt x="5202" y="1823"/>
                  </a:cubicBezTo>
                  <a:cubicBezTo>
                    <a:pt x="5195" y="1813"/>
                    <a:pt x="5189" y="1804"/>
                    <a:pt x="5182" y="1795"/>
                  </a:cubicBezTo>
                  <a:cubicBezTo>
                    <a:pt x="5176" y="1785"/>
                    <a:pt x="5169" y="1776"/>
                    <a:pt x="5162" y="1767"/>
                  </a:cubicBezTo>
                  <a:cubicBezTo>
                    <a:pt x="5156" y="1758"/>
                    <a:pt x="5149" y="1749"/>
                    <a:pt x="5142" y="1741"/>
                  </a:cubicBezTo>
                  <a:cubicBezTo>
                    <a:pt x="5113" y="1705"/>
                    <a:pt x="5083" y="1672"/>
                    <a:pt x="5051" y="1639"/>
                  </a:cubicBezTo>
                  <a:cubicBezTo>
                    <a:pt x="5019" y="1607"/>
                    <a:pt x="4986" y="1577"/>
                    <a:pt x="4951" y="1548"/>
                  </a:cubicBezTo>
                  <a:cubicBezTo>
                    <a:pt x="4916" y="1519"/>
                    <a:pt x="4880" y="1492"/>
                    <a:pt x="4843" y="1466"/>
                  </a:cubicBezTo>
                  <a:cubicBezTo>
                    <a:pt x="4805" y="1440"/>
                    <a:pt x="4767" y="1416"/>
                    <a:pt x="4727" y="1394"/>
                  </a:cubicBezTo>
                  <a:cubicBezTo>
                    <a:pt x="4649" y="1349"/>
                    <a:pt x="4566" y="1310"/>
                    <a:pt x="4482" y="1277"/>
                  </a:cubicBezTo>
                  <a:cubicBezTo>
                    <a:pt x="4397" y="1244"/>
                    <a:pt x="4310" y="1217"/>
                    <a:pt x="4222" y="1196"/>
                  </a:cubicBezTo>
                  <a:cubicBezTo>
                    <a:pt x="4134" y="1174"/>
                    <a:pt x="4045" y="1158"/>
                    <a:pt x="3954" y="1148"/>
                  </a:cubicBezTo>
                  <a:cubicBezTo>
                    <a:pt x="3909" y="1143"/>
                    <a:pt x="3864" y="1139"/>
                    <a:pt x="3819" y="1136"/>
                  </a:cubicBezTo>
                  <a:cubicBezTo>
                    <a:pt x="3773" y="1134"/>
                    <a:pt x="3728" y="1133"/>
                    <a:pt x="3683" y="1133"/>
                  </a:cubicBezTo>
                  <a:cubicBezTo>
                    <a:pt x="3409" y="1137"/>
                    <a:pt x="3409" y="1137"/>
                    <a:pt x="3409" y="1137"/>
                  </a:cubicBezTo>
                  <a:cubicBezTo>
                    <a:pt x="3375" y="1138"/>
                    <a:pt x="3375" y="1138"/>
                    <a:pt x="3375" y="1138"/>
                  </a:cubicBezTo>
                  <a:cubicBezTo>
                    <a:pt x="3358" y="1138"/>
                    <a:pt x="3358" y="1138"/>
                    <a:pt x="3358" y="1138"/>
                  </a:cubicBezTo>
                  <a:cubicBezTo>
                    <a:pt x="3354" y="1138"/>
                    <a:pt x="3354" y="1138"/>
                    <a:pt x="3354" y="1138"/>
                  </a:cubicBezTo>
                  <a:cubicBezTo>
                    <a:pt x="3352" y="1138"/>
                    <a:pt x="3352" y="1138"/>
                    <a:pt x="3352" y="1138"/>
                  </a:cubicBezTo>
                  <a:cubicBezTo>
                    <a:pt x="3350" y="1138"/>
                    <a:pt x="3350" y="1138"/>
                    <a:pt x="3350" y="1138"/>
                  </a:cubicBezTo>
                  <a:cubicBezTo>
                    <a:pt x="3341" y="1138"/>
                    <a:pt x="3341" y="1138"/>
                    <a:pt x="3341" y="1138"/>
                  </a:cubicBezTo>
                  <a:cubicBezTo>
                    <a:pt x="3318" y="1138"/>
                    <a:pt x="3296" y="1138"/>
                    <a:pt x="3273" y="1138"/>
                  </a:cubicBezTo>
                  <a:cubicBezTo>
                    <a:pt x="3227" y="1138"/>
                    <a:pt x="3182" y="1139"/>
                    <a:pt x="3136" y="1138"/>
                  </a:cubicBezTo>
                  <a:cubicBezTo>
                    <a:pt x="3090" y="1137"/>
                    <a:pt x="3045" y="1136"/>
                    <a:pt x="2999" y="1132"/>
                  </a:cubicBezTo>
                  <a:cubicBezTo>
                    <a:pt x="2954" y="1129"/>
                    <a:pt x="2908" y="1124"/>
                    <a:pt x="2863" y="1115"/>
                  </a:cubicBezTo>
                  <a:cubicBezTo>
                    <a:pt x="2841" y="1110"/>
                    <a:pt x="2818" y="1105"/>
                    <a:pt x="2796" y="1097"/>
                  </a:cubicBezTo>
                  <a:cubicBezTo>
                    <a:pt x="2774" y="1090"/>
                    <a:pt x="2753" y="1081"/>
                    <a:pt x="2733" y="1070"/>
                  </a:cubicBezTo>
                  <a:cubicBezTo>
                    <a:pt x="2730" y="1068"/>
                    <a:pt x="2728" y="1067"/>
                    <a:pt x="2725" y="1065"/>
                  </a:cubicBezTo>
                  <a:cubicBezTo>
                    <a:pt x="2723" y="1064"/>
                    <a:pt x="2720" y="1062"/>
                    <a:pt x="2718" y="1061"/>
                  </a:cubicBezTo>
                  <a:cubicBezTo>
                    <a:pt x="2711" y="1055"/>
                    <a:pt x="2711" y="1055"/>
                    <a:pt x="2711" y="1055"/>
                  </a:cubicBezTo>
                  <a:cubicBezTo>
                    <a:pt x="2708" y="1054"/>
                    <a:pt x="2706" y="1052"/>
                    <a:pt x="2704" y="1050"/>
                  </a:cubicBezTo>
                  <a:cubicBezTo>
                    <a:pt x="2701" y="1048"/>
                    <a:pt x="2701" y="1048"/>
                    <a:pt x="2701" y="1048"/>
                  </a:cubicBezTo>
                  <a:cubicBezTo>
                    <a:pt x="2697" y="1045"/>
                    <a:pt x="2697" y="1045"/>
                    <a:pt x="2697" y="1045"/>
                  </a:cubicBezTo>
                  <a:cubicBezTo>
                    <a:pt x="2691" y="1039"/>
                    <a:pt x="2691" y="1039"/>
                    <a:pt x="2691" y="1039"/>
                  </a:cubicBezTo>
                  <a:cubicBezTo>
                    <a:pt x="2688" y="1037"/>
                    <a:pt x="2687" y="1034"/>
                    <a:pt x="2685" y="1032"/>
                  </a:cubicBezTo>
                  <a:cubicBezTo>
                    <a:pt x="2683" y="1030"/>
                    <a:pt x="2680" y="1028"/>
                    <a:pt x="2679" y="1025"/>
                  </a:cubicBezTo>
                  <a:cubicBezTo>
                    <a:pt x="2664" y="1007"/>
                    <a:pt x="2653" y="986"/>
                    <a:pt x="2648" y="962"/>
                  </a:cubicBezTo>
                  <a:cubicBezTo>
                    <a:pt x="2643" y="939"/>
                    <a:pt x="2644" y="915"/>
                    <a:pt x="2650" y="892"/>
                  </a:cubicBezTo>
                  <a:cubicBezTo>
                    <a:pt x="2652" y="887"/>
                    <a:pt x="2654" y="881"/>
                    <a:pt x="2657" y="876"/>
                  </a:cubicBezTo>
                  <a:cubicBezTo>
                    <a:pt x="2658" y="873"/>
                    <a:pt x="2659" y="870"/>
                    <a:pt x="2660" y="867"/>
                  </a:cubicBezTo>
                  <a:cubicBezTo>
                    <a:pt x="2665" y="860"/>
                    <a:pt x="2665" y="860"/>
                    <a:pt x="2665" y="860"/>
                  </a:cubicBezTo>
                  <a:cubicBezTo>
                    <a:pt x="2671" y="850"/>
                    <a:pt x="2678" y="841"/>
                    <a:pt x="2687" y="832"/>
                  </a:cubicBezTo>
                  <a:cubicBezTo>
                    <a:pt x="2695" y="824"/>
                    <a:pt x="2704" y="816"/>
                    <a:pt x="2713" y="810"/>
                  </a:cubicBezTo>
                  <a:cubicBezTo>
                    <a:pt x="2723" y="803"/>
                    <a:pt x="2732" y="796"/>
                    <a:pt x="2742" y="791"/>
                  </a:cubicBezTo>
                  <a:cubicBezTo>
                    <a:pt x="2762" y="779"/>
                    <a:pt x="2783" y="770"/>
                    <a:pt x="2804" y="761"/>
                  </a:cubicBezTo>
                  <a:cubicBezTo>
                    <a:pt x="2847" y="743"/>
                    <a:pt x="2890" y="729"/>
                    <a:pt x="2934" y="717"/>
                  </a:cubicBezTo>
                  <a:cubicBezTo>
                    <a:pt x="2978" y="704"/>
                    <a:pt x="3023" y="693"/>
                    <a:pt x="3067" y="683"/>
                  </a:cubicBezTo>
                  <a:cubicBezTo>
                    <a:pt x="3089" y="677"/>
                    <a:pt x="3111" y="672"/>
                    <a:pt x="3133" y="667"/>
                  </a:cubicBezTo>
                  <a:cubicBezTo>
                    <a:pt x="3155" y="661"/>
                    <a:pt x="3177" y="655"/>
                    <a:pt x="3199" y="649"/>
                  </a:cubicBezTo>
                  <a:cubicBezTo>
                    <a:pt x="3242" y="635"/>
                    <a:pt x="3285" y="620"/>
                    <a:pt x="3325" y="600"/>
                  </a:cubicBezTo>
                  <a:cubicBezTo>
                    <a:pt x="3346" y="590"/>
                    <a:pt x="3365" y="578"/>
                    <a:pt x="3383" y="565"/>
                  </a:cubicBezTo>
                  <a:cubicBezTo>
                    <a:pt x="3401" y="552"/>
                    <a:pt x="3418" y="537"/>
                    <a:pt x="3433" y="520"/>
                  </a:cubicBezTo>
                  <a:cubicBezTo>
                    <a:pt x="3440" y="511"/>
                    <a:pt x="3446" y="502"/>
                    <a:pt x="3452" y="492"/>
                  </a:cubicBezTo>
                  <a:cubicBezTo>
                    <a:pt x="3453" y="490"/>
                    <a:pt x="3454" y="487"/>
                    <a:pt x="3456" y="485"/>
                  </a:cubicBezTo>
                  <a:cubicBezTo>
                    <a:pt x="3457" y="482"/>
                    <a:pt x="3458" y="480"/>
                    <a:pt x="3459" y="477"/>
                  </a:cubicBezTo>
                  <a:cubicBezTo>
                    <a:pt x="3463" y="470"/>
                    <a:pt x="3463" y="470"/>
                    <a:pt x="3463" y="470"/>
                  </a:cubicBezTo>
                  <a:cubicBezTo>
                    <a:pt x="3464" y="467"/>
                    <a:pt x="3465" y="464"/>
                    <a:pt x="3466" y="462"/>
                  </a:cubicBezTo>
                  <a:cubicBezTo>
                    <a:pt x="3473" y="441"/>
                    <a:pt x="3478" y="419"/>
                    <a:pt x="3477" y="397"/>
                  </a:cubicBezTo>
                  <a:cubicBezTo>
                    <a:pt x="3477" y="397"/>
                    <a:pt x="3477" y="397"/>
                    <a:pt x="3477" y="397"/>
                  </a:cubicBezTo>
                  <a:cubicBezTo>
                    <a:pt x="3471" y="360"/>
                    <a:pt x="3456" y="325"/>
                    <a:pt x="3433" y="295"/>
                  </a:cubicBezTo>
                  <a:cubicBezTo>
                    <a:pt x="3411" y="265"/>
                    <a:pt x="3381" y="241"/>
                    <a:pt x="3350" y="221"/>
                  </a:cubicBezTo>
                  <a:cubicBezTo>
                    <a:pt x="3318" y="201"/>
                    <a:pt x="3283" y="186"/>
                    <a:pt x="3248" y="173"/>
                  </a:cubicBezTo>
                  <a:cubicBezTo>
                    <a:pt x="3212" y="160"/>
                    <a:pt x="3176" y="149"/>
                    <a:pt x="3139" y="139"/>
                  </a:cubicBezTo>
                  <a:cubicBezTo>
                    <a:pt x="3121" y="134"/>
                    <a:pt x="3103" y="129"/>
                    <a:pt x="3084" y="125"/>
                  </a:cubicBezTo>
                  <a:cubicBezTo>
                    <a:pt x="3029" y="110"/>
                    <a:pt x="3029" y="110"/>
                    <a:pt x="3029" y="110"/>
                  </a:cubicBezTo>
                  <a:cubicBezTo>
                    <a:pt x="3022" y="108"/>
                    <a:pt x="3022" y="108"/>
                    <a:pt x="3022" y="108"/>
                  </a:cubicBezTo>
                  <a:cubicBezTo>
                    <a:pt x="3019" y="108"/>
                    <a:pt x="3019" y="108"/>
                    <a:pt x="3019" y="108"/>
                  </a:cubicBezTo>
                  <a:cubicBezTo>
                    <a:pt x="3018" y="107"/>
                    <a:pt x="3017" y="107"/>
                    <a:pt x="3016" y="107"/>
                  </a:cubicBezTo>
                  <a:cubicBezTo>
                    <a:pt x="3002" y="104"/>
                    <a:pt x="3002" y="104"/>
                    <a:pt x="3002" y="104"/>
                  </a:cubicBezTo>
                  <a:cubicBezTo>
                    <a:pt x="2992" y="102"/>
                    <a:pt x="2983" y="101"/>
                    <a:pt x="2974" y="99"/>
                  </a:cubicBezTo>
                  <a:cubicBezTo>
                    <a:pt x="2955" y="96"/>
                    <a:pt x="2936" y="92"/>
                    <a:pt x="2918" y="89"/>
                  </a:cubicBezTo>
                  <a:cubicBezTo>
                    <a:pt x="2843" y="77"/>
                    <a:pt x="2767" y="68"/>
                    <a:pt x="2692" y="59"/>
                  </a:cubicBezTo>
                  <a:cubicBezTo>
                    <a:pt x="2466" y="32"/>
                    <a:pt x="2466" y="32"/>
                    <a:pt x="2466" y="32"/>
                  </a:cubicBezTo>
                  <a:cubicBezTo>
                    <a:pt x="2391" y="23"/>
                    <a:pt x="2315" y="16"/>
                    <a:pt x="2239" y="11"/>
                  </a:cubicBezTo>
                  <a:cubicBezTo>
                    <a:pt x="2201" y="8"/>
                    <a:pt x="2164" y="6"/>
                    <a:pt x="2126" y="5"/>
                  </a:cubicBezTo>
                  <a:cubicBezTo>
                    <a:pt x="2116" y="5"/>
                    <a:pt x="2107" y="5"/>
                    <a:pt x="2097" y="5"/>
                  </a:cubicBezTo>
                  <a:cubicBezTo>
                    <a:pt x="2069" y="5"/>
                    <a:pt x="2069" y="5"/>
                    <a:pt x="2069" y="5"/>
                  </a:cubicBezTo>
                  <a:cubicBezTo>
                    <a:pt x="2040" y="5"/>
                    <a:pt x="2040" y="5"/>
                    <a:pt x="2040" y="5"/>
                  </a:cubicBezTo>
                  <a:cubicBezTo>
                    <a:pt x="2031" y="5"/>
                    <a:pt x="2021" y="5"/>
                    <a:pt x="2012" y="5"/>
                  </a:cubicBezTo>
                  <a:cubicBezTo>
                    <a:pt x="1974" y="7"/>
                    <a:pt x="1936" y="9"/>
                    <a:pt x="1899" y="14"/>
                  </a:cubicBezTo>
                  <a:cubicBezTo>
                    <a:pt x="1880" y="16"/>
                    <a:pt x="1861" y="19"/>
                    <a:pt x="1842" y="22"/>
                  </a:cubicBezTo>
                  <a:cubicBezTo>
                    <a:pt x="1833" y="23"/>
                    <a:pt x="1823" y="24"/>
                    <a:pt x="1814" y="26"/>
                  </a:cubicBezTo>
                  <a:cubicBezTo>
                    <a:pt x="1786" y="30"/>
                    <a:pt x="1786" y="30"/>
                    <a:pt x="1786" y="30"/>
                  </a:cubicBezTo>
                  <a:cubicBezTo>
                    <a:pt x="1711" y="39"/>
                    <a:pt x="1636" y="53"/>
                    <a:pt x="1562" y="68"/>
                  </a:cubicBezTo>
                  <a:cubicBezTo>
                    <a:pt x="1524" y="75"/>
                    <a:pt x="1487" y="83"/>
                    <a:pt x="1450" y="91"/>
                  </a:cubicBezTo>
                  <a:cubicBezTo>
                    <a:pt x="1413" y="99"/>
                    <a:pt x="1376" y="107"/>
                    <a:pt x="1339" y="115"/>
                  </a:cubicBezTo>
                  <a:cubicBezTo>
                    <a:pt x="1190" y="145"/>
                    <a:pt x="1039" y="167"/>
                    <a:pt x="889" y="187"/>
                  </a:cubicBezTo>
                  <a:cubicBezTo>
                    <a:pt x="814" y="197"/>
                    <a:pt x="739" y="209"/>
                    <a:pt x="664" y="223"/>
                  </a:cubicBezTo>
                  <a:cubicBezTo>
                    <a:pt x="590" y="236"/>
                    <a:pt x="515" y="252"/>
                    <a:pt x="441" y="269"/>
                  </a:cubicBezTo>
                  <a:cubicBezTo>
                    <a:pt x="293" y="303"/>
                    <a:pt x="147" y="342"/>
                    <a:pt x="0" y="38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78"/>
            <p:cNvSpPr>
              <a:spLocks/>
            </p:cNvSpPr>
            <p:nvPr/>
          </p:nvSpPr>
          <p:spPr bwMode="auto">
            <a:xfrm>
              <a:off x="-3422098" y="1358747"/>
              <a:ext cx="8113161" cy="6254872"/>
            </a:xfrm>
            <a:custGeom>
              <a:avLst/>
              <a:gdLst>
                <a:gd name="T0" fmla="*/ 3362 w 4009"/>
                <a:gd name="T1" fmla="*/ 2800 h 3089"/>
                <a:gd name="T2" fmla="*/ 3933 w 4009"/>
                <a:gd name="T3" fmla="*/ 2056 h 3089"/>
                <a:gd name="T4" fmla="*/ 3966 w 4009"/>
                <a:gd name="T5" fmla="*/ 1971 h 3089"/>
                <a:gd name="T6" fmla="*/ 3988 w 4009"/>
                <a:gd name="T7" fmla="*/ 1880 h 3089"/>
                <a:gd name="T8" fmla="*/ 3992 w 4009"/>
                <a:gd name="T9" fmla="*/ 1785 h 3089"/>
                <a:gd name="T10" fmla="*/ 3986 w 4009"/>
                <a:gd name="T11" fmla="*/ 1737 h 3089"/>
                <a:gd name="T12" fmla="*/ 3958 w 4009"/>
                <a:gd name="T13" fmla="*/ 1653 h 3089"/>
                <a:gd name="T14" fmla="*/ 3916 w 4009"/>
                <a:gd name="T15" fmla="*/ 1585 h 3089"/>
                <a:gd name="T16" fmla="*/ 3861 w 4009"/>
                <a:gd name="T17" fmla="*/ 1526 h 3089"/>
                <a:gd name="T18" fmla="*/ 3797 w 4009"/>
                <a:gd name="T19" fmla="*/ 1474 h 3089"/>
                <a:gd name="T20" fmla="*/ 3743 w 4009"/>
                <a:gd name="T21" fmla="*/ 1440 h 3089"/>
                <a:gd name="T22" fmla="*/ 3715 w 4009"/>
                <a:gd name="T23" fmla="*/ 1425 h 3089"/>
                <a:gd name="T24" fmla="*/ 3347 w 4009"/>
                <a:gd name="T25" fmla="*/ 1334 h 3089"/>
                <a:gd name="T26" fmla="*/ 2229 w 4009"/>
                <a:gd name="T27" fmla="*/ 1207 h 3089"/>
                <a:gd name="T28" fmla="*/ 1885 w 4009"/>
                <a:gd name="T29" fmla="*/ 1008 h 3089"/>
                <a:gd name="T30" fmla="*/ 1861 w 4009"/>
                <a:gd name="T31" fmla="*/ 964 h 3089"/>
                <a:gd name="T32" fmla="*/ 1847 w 4009"/>
                <a:gd name="T33" fmla="*/ 830 h 3089"/>
                <a:gd name="T34" fmla="*/ 1874 w 4009"/>
                <a:gd name="T35" fmla="*/ 760 h 3089"/>
                <a:gd name="T36" fmla="*/ 1901 w 4009"/>
                <a:gd name="T37" fmla="*/ 719 h 3089"/>
                <a:gd name="T38" fmla="*/ 1969 w 4009"/>
                <a:gd name="T39" fmla="*/ 647 h 3089"/>
                <a:gd name="T40" fmla="*/ 2113 w 4009"/>
                <a:gd name="T41" fmla="*/ 556 h 3089"/>
                <a:gd name="T42" fmla="*/ 2814 w 4009"/>
                <a:gd name="T43" fmla="*/ 281 h 3089"/>
                <a:gd name="T44" fmla="*/ 2816 w 4009"/>
                <a:gd name="T45" fmla="*/ 204 h 3089"/>
                <a:gd name="T46" fmla="*/ 2710 w 4009"/>
                <a:gd name="T47" fmla="*/ 104 h 3089"/>
                <a:gd name="T48" fmla="*/ 1878 w 4009"/>
                <a:gd name="T49" fmla="*/ 17 h 3089"/>
                <a:gd name="T50" fmla="*/ 452 w 4009"/>
                <a:gd name="T51" fmla="*/ 116 h 3089"/>
                <a:gd name="T52" fmla="*/ 81 w 4009"/>
                <a:gd name="T53" fmla="*/ 269 h 3089"/>
                <a:gd name="T54" fmla="*/ 20 w 4009"/>
                <a:gd name="T55" fmla="*/ 304 h 3089"/>
                <a:gd name="T56" fmla="*/ 362 w 4009"/>
                <a:gd name="T57" fmla="*/ 144 h 3089"/>
                <a:gd name="T58" fmla="*/ 718 w 4009"/>
                <a:gd name="T59" fmla="*/ 54 h 3089"/>
                <a:gd name="T60" fmla="*/ 2400 w 4009"/>
                <a:gd name="T61" fmla="*/ 39 h 3089"/>
                <a:gd name="T62" fmla="*/ 2817 w 4009"/>
                <a:gd name="T63" fmla="*/ 191 h 3089"/>
                <a:gd name="T64" fmla="*/ 2826 w 4009"/>
                <a:gd name="T65" fmla="*/ 213 h 3089"/>
                <a:gd name="T66" fmla="*/ 2763 w 4009"/>
                <a:gd name="T67" fmla="*/ 344 h 3089"/>
                <a:gd name="T68" fmla="*/ 2117 w 4009"/>
                <a:gd name="T69" fmla="*/ 564 h 3089"/>
                <a:gd name="T70" fmla="*/ 1975 w 4009"/>
                <a:gd name="T71" fmla="*/ 655 h 3089"/>
                <a:gd name="T72" fmla="*/ 1908 w 4009"/>
                <a:gd name="T73" fmla="*/ 724 h 3089"/>
                <a:gd name="T74" fmla="*/ 1882 w 4009"/>
                <a:gd name="T75" fmla="*/ 765 h 3089"/>
                <a:gd name="T76" fmla="*/ 1857 w 4009"/>
                <a:gd name="T77" fmla="*/ 832 h 3089"/>
                <a:gd name="T78" fmla="*/ 1871 w 4009"/>
                <a:gd name="T79" fmla="*/ 960 h 3089"/>
                <a:gd name="T80" fmla="*/ 1894 w 4009"/>
                <a:gd name="T81" fmla="*/ 1002 h 3089"/>
                <a:gd name="T82" fmla="*/ 2232 w 4009"/>
                <a:gd name="T83" fmla="*/ 1196 h 3089"/>
                <a:gd name="T84" fmla="*/ 3349 w 4009"/>
                <a:gd name="T85" fmla="*/ 1320 h 3089"/>
                <a:gd name="T86" fmla="*/ 3732 w 4009"/>
                <a:gd name="T87" fmla="*/ 1417 h 3089"/>
                <a:gd name="T88" fmla="*/ 3769 w 4009"/>
                <a:gd name="T89" fmla="*/ 1438 h 3089"/>
                <a:gd name="T90" fmla="*/ 3822 w 4009"/>
                <a:gd name="T91" fmla="*/ 1474 h 3089"/>
                <a:gd name="T92" fmla="*/ 3887 w 4009"/>
                <a:gd name="T93" fmla="*/ 1529 h 3089"/>
                <a:gd name="T94" fmla="*/ 3941 w 4009"/>
                <a:gd name="T95" fmla="*/ 1593 h 3089"/>
                <a:gd name="T96" fmla="*/ 3981 w 4009"/>
                <a:gd name="T97" fmla="*/ 1665 h 3089"/>
                <a:gd name="T98" fmla="*/ 4004 w 4009"/>
                <a:gd name="T99" fmla="*/ 1743 h 3089"/>
                <a:gd name="T100" fmla="*/ 4009 w 4009"/>
                <a:gd name="T101" fmla="*/ 1803 h 3089"/>
                <a:gd name="T102" fmla="*/ 4001 w 4009"/>
                <a:gd name="T103" fmla="*/ 1901 h 3089"/>
                <a:gd name="T104" fmla="*/ 3979 w 4009"/>
                <a:gd name="T105" fmla="*/ 1985 h 3089"/>
                <a:gd name="T106" fmla="*/ 3881 w 4009"/>
                <a:gd name="T107" fmla="*/ 2191 h 3089"/>
                <a:gd name="T108" fmla="*/ 3276 w 4009"/>
                <a:gd name="T109" fmla="*/ 2926 h 3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09" h="3089">
                  <a:moveTo>
                    <a:pt x="3136" y="3079"/>
                  </a:moveTo>
                  <a:cubicBezTo>
                    <a:pt x="3136" y="3079"/>
                    <a:pt x="3140" y="3072"/>
                    <a:pt x="3148" y="3058"/>
                  </a:cubicBezTo>
                  <a:cubicBezTo>
                    <a:pt x="3157" y="3045"/>
                    <a:pt x="3171" y="3026"/>
                    <a:pt x="3190" y="3001"/>
                  </a:cubicBezTo>
                  <a:cubicBezTo>
                    <a:pt x="3208" y="2977"/>
                    <a:pt x="3232" y="2948"/>
                    <a:pt x="3261" y="2914"/>
                  </a:cubicBezTo>
                  <a:cubicBezTo>
                    <a:pt x="3290" y="2880"/>
                    <a:pt x="3324" y="2842"/>
                    <a:pt x="3362" y="2800"/>
                  </a:cubicBezTo>
                  <a:cubicBezTo>
                    <a:pt x="3400" y="2758"/>
                    <a:pt x="3443" y="2711"/>
                    <a:pt x="3489" y="2660"/>
                  </a:cubicBezTo>
                  <a:cubicBezTo>
                    <a:pt x="3535" y="2609"/>
                    <a:pt x="3584" y="2554"/>
                    <a:pt x="3635" y="2493"/>
                  </a:cubicBezTo>
                  <a:cubicBezTo>
                    <a:pt x="3686" y="2433"/>
                    <a:pt x="3739" y="2367"/>
                    <a:pt x="3791" y="2295"/>
                  </a:cubicBezTo>
                  <a:cubicBezTo>
                    <a:pt x="3816" y="2259"/>
                    <a:pt x="3842" y="2221"/>
                    <a:pt x="3866" y="2182"/>
                  </a:cubicBezTo>
                  <a:cubicBezTo>
                    <a:pt x="3890" y="2142"/>
                    <a:pt x="3913" y="2100"/>
                    <a:pt x="3933" y="2056"/>
                  </a:cubicBezTo>
                  <a:cubicBezTo>
                    <a:pt x="3937" y="2045"/>
                    <a:pt x="3942" y="2034"/>
                    <a:pt x="3947" y="2023"/>
                  </a:cubicBezTo>
                  <a:cubicBezTo>
                    <a:pt x="3949" y="2017"/>
                    <a:pt x="3951" y="2011"/>
                    <a:pt x="3954" y="2006"/>
                  </a:cubicBezTo>
                  <a:cubicBezTo>
                    <a:pt x="3956" y="2000"/>
                    <a:pt x="3958" y="1994"/>
                    <a:pt x="3960" y="1988"/>
                  </a:cubicBezTo>
                  <a:cubicBezTo>
                    <a:pt x="3963" y="1979"/>
                    <a:pt x="3963" y="1979"/>
                    <a:pt x="3963" y="1979"/>
                  </a:cubicBezTo>
                  <a:cubicBezTo>
                    <a:pt x="3966" y="1971"/>
                    <a:pt x="3966" y="1971"/>
                    <a:pt x="3966" y="1971"/>
                  </a:cubicBezTo>
                  <a:cubicBezTo>
                    <a:pt x="3968" y="1965"/>
                    <a:pt x="3969" y="1959"/>
                    <a:pt x="3971" y="1953"/>
                  </a:cubicBezTo>
                  <a:cubicBezTo>
                    <a:pt x="3973" y="1947"/>
                    <a:pt x="3974" y="1941"/>
                    <a:pt x="3976" y="1935"/>
                  </a:cubicBezTo>
                  <a:cubicBezTo>
                    <a:pt x="3978" y="1929"/>
                    <a:pt x="3979" y="1923"/>
                    <a:pt x="3981" y="1917"/>
                  </a:cubicBezTo>
                  <a:cubicBezTo>
                    <a:pt x="3982" y="1911"/>
                    <a:pt x="3983" y="1904"/>
                    <a:pt x="3984" y="1898"/>
                  </a:cubicBezTo>
                  <a:cubicBezTo>
                    <a:pt x="3986" y="1892"/>
                    <a:pt x="3987" y="1886"/>
                    <a:pt x="3988" y="1880"/>
                  </a:cubicBezTo>
                  <a:cubicBezTo>
                    <a:pt x="3990" y="1867"/>
                    <a:pt x="3991" y="1855"/>
                    <a:pt x="3992" y="1842"/>
                  </a:cubicBezTo>
                  <a:cubicBezTo>
                    <a:pt x="3992" y="1836"/>
                    <a:pt x="3993" y="1829"/>
                    <a:pt x="3993" y="1823"/>
                  </a:cubicBezTo>
                  <a:cubicBezTo>
                    <a:pt x="3993" y="1813"/>
                    <a:pt x="3993" y="1813"/>
                    <a:pt x="3993" y="1813"/>
                  </a:cubicBezTo>
                  <a:cubicBezTo>
                    <a:pt x="3993" y="1804"/>
                    <a:pt x="3993" y="1804"/>
                    <a:pt x="3993" y="1804"/>
                  </a:cubicBezTo>
                  <a:cubicBezTo>
                    <a:pt x="3993" y="1797"/>
                    <a:pt x="3993" y="1791"/>
                    <a:pt x="3992" y="1785"/>
                  </a:cubicBezTo>
                  <a:cubicBezTo>
                    <a:pt x="3992" y="1778"/>
                    <a:pt x="3991" y="1772"/>
                    <a:pt x="3991" y="1765"/>
                  </a:cubicBezTo>
                  <a:cubicBezTo>
                    <a:pt x="3990" y="1761"/>
                    <a:pt x="3990" y="1761"/>
                    <a:pt x="3990" y="1761"/>
                  </a:cubicBezTo>
                  <a:cubicBezTo>
                    <a:pt x="3989" y="1756"/>
                    <a:pt x="3989" y="1756"/>
                    <a:pt x="3989" y="1756"/>
                  </a:cubicBezTo>
                  <a:cubicBezTo>
                    <a:pt x="3988" y="1746"/>
                    <a:pt x="3988" y="1746"/>
                    <a:pt x="3988" y="1746"/>
                  </a:cubicBezTo>
                  <a:cubicBezTo>
                    <a:pt x="3986" y="1737"/>
                    <a:pt x="3986" y="1737"/>
                    <a:pt x="3986" y="1737"/>
                  </a:cubicBezTo>
                  <a:cubicBezTo>
                    <a:pt x="3986" y="1733"/>
                    <a:pt x="3985" y="1730"/>
                    <a:pt x="3984" y="1727"/>
                  </a:cubicBezTo>
                  <a:cubicBezTo>
                    <a:pt x="3982" y="1721"/>
                    <a:pt x="3981" y="1715"/>
                    <a:pt x="3979" y="1708"/>
                  </a:cubicBezTo>
                  <a:cubicBezTo>
                    <a:pt x="3977" y="1702"/>
                    <a:pt x="3975" y="1696"/>
                    <a:pt x="3973" y="1690"/>
                  </a:cubicBezTo>
                  <a:cubicBezTo>
                    <a:pt x="3971" y="1683"/>
                    <a:pt x="3969" y="1677"/>
                    <a:pt x="3966" y="1671"/>
                  </a:cubicBezTo>
                  <a:cubicBezTo>
                    <a:pt x="3964" y="1665"/>
                    <a:pt x="3961" y="1659"/>
                    <a:pt x="3958" y="1653"/>
                  </a:cubicBezTo>
                  <a:cubicBezTo>
                    <a:pt x="3955" y="1647"/>
                    <a:pt x="3952" y="1641"/>
                    <a:pt x="3949" y="1636"/>
                  </a:cubicBezTo>
                  <a:cubicBezTo>
                    <a:pt x="3946" y="1630"/>
                    <a:pt x="3942" y="1624"/>
                    <a:pt x="3939" y="1618"/>
                  </a:cubicBezTo>
                  <a:cubicBezTo>
                    <a:pt x="3937" y="1616"/>
                    <a:pt x="3936" y="1613"/>
                    <a:pt x="3934" y="1610"/>
                  </a:cubicBezTo>
                  <a:cubicBezTo>
                    <a:pt x="3928" y="1602"/>
                    <a:pt x="3928" y="1602"/>
                    <a:pt x="3928" y="1602"/>
                  </a:cubicBezTo>
                  <a:cubicBezTo>
                    <a:pt x="3924" y="1596"/>
                    <a:pt x="3921" y="1591"/>
                    <a:pt x="3916" y="1585"/>
                  </a:cubicBezTo>
                  <a:cubicBezTo>
                    <a:pt x="3912" y="1580"/>
                    <a:pt x="3908" y="1575"/>
                    <a:pt x="3904" y="1570"/>
                  </a:cubicBezTo>
                  <a:cubicBezTo>
                    <a:pt x="3901" y="1567"/>
                    <a:pt x="3899" y="1564"/>
                    <a:pt x="3897" y="1562"/>
                  </a:cubicBezTo>
                  <a:cubicBezTo>
                    <a:pt x="3890" y="1555"/>
                    <a:pt x="3890" y="1555"/>
                    <a:pt x="3890" y="1555"/>
                  </a:cubicBezTo>
                  <a:cubicBezTo>
                    <a:pt x="3885" y="1550"/>
                    <a:pt x="3881" y="1545"/>
                    <a:pt x="3876" y="1540"/>
                  </a:cubicBezTo>
                  <a:cubicBezTo>
                    <a:pt x="3871" y="1535"/>
                    <a:pt x="3866" y="1530"/>
                    <a:pt x="3861" y="1526"/>
                  </a:cubicBezTo>
                  <a:cubicBezTo>
                    <a:pt x="3854" y="1519"/>
                    <a:pt x="3854" y="1519"/>
                    <a:pt x="3854" y="1519"/>
                  </a:cubicBezTo>
                  <a:cubicBezTo>
                    <a:pt x="3851" y="1516"/>
                    <a:pt x="3848" y="1514"/>
                    <a:pt x="3846" y="1512"/>
                  </a:cubicBezTo>
                  <a:cubicBezTo>
                    <a:pt x="3841" y="1508"/>
                    <a:pt x="3835" y="1503"/>
                    <a:pt x="3830" y="1499"/>
                  </a:cubicBezTo>
                  <a:cubicBezTo>
                    <a:pt x="3825" y="1494"/>
                    <a:pt x="3819" y="1491"/>
                    <a:pt x="3813" y="1486"/>
                  </a:cubicBezTo>
                  <a:cubicBezTo>
                    <a:pt x="3808" y="1482"/>
                    <a:pt x="3802" y="1478"/>
                    <a:pt x="3797" y="1474"/>
                  </a:cubicBezTo>
                  <a:cubicBezTo>
                    <a:pt x="3791" y="1470"/>
                    <a:pt x="3785" y="1466"/>
                    <a:pt x="3779" y="1463"/>
                  </a:cubicBezTo>
                  <a:cubicBezTo>
                    <a:pt x="3770" y="1457"/>
                    <a:pt x="3770" y="1457"/>
                    <a:pt x="3770" y="1457"/>
                  </a:cubicBezTo>
                  <a:cubicBezTo>
                    <a:pt x="3766" y="1454"/>
                    <a:pt x="3766" y="1454"/>
                    <a:pt x="3766" y="1454"/>
                  </a:cubicBezTo>
                  <a:cubicBezTo>
                    <a:pt x="3761" y="1451"/>
                    <a:pt x="3761" y="1451"/>
                    <a:pt x="3761" y="1451"/>
                  </a:cubicBezTo>
                  <a:cubicBezTo>
                    <a:pt x="3755" y="1448"/>
                    <a:pt x="3749" y="1444"/>
                    <a:pt x="3743" y="1440"/>
                  </a:cubicBezTo>
                  <a:cubicBezTo>
                    <a:pt x="3734" y="1435"/>
                    <a:pt x="3734" y="1435"/>
                    <a:pt x="3734" y="1435"/>
                  </a:cubicBezTo>
                  <a:cubicBezTo>
                    <a:pt x="3732" y="1434"/>
                    <a:pt x="3732" y="1434"/>
                    <a:pt x="3732" y="1434"/>
                  </a:cubicBezTo>
                  <a:cubicBezTo>
                    <a:pt x="3730" y="1432"/>
                    <a:pt x="3730" y="1432"/>
                    <a:pt x="3730" y="1432"/>
                  </a:cubicBezTo>
                  <a:cubicBezTo>
                    <a:pt x="3725" y="1430"/>
                    <a:pt x="3725" y="1430"/>
                    <a:pt x="3725" y="1430"/>
                  </a:cubicBezTo>
                  <a:cubicBezTo>
                    <a:pt x="3715" y="1425"/>
                    <a:pt x="3715" y="1425"/>
                    <a:pt x="3715" y="1425"/>
                  </a:cubicBezTo>
                  <a:cubicBezTo>
                    <a:pt x="3706" y="1420"/>
                    <a:pt x="3706" y="1420"/>
                    <a:pt x="3706" y="1420"/>
                  </a:cubicBezTo>
                  <a:cubicBezTo>
                    <a:pt x="3700" y="1417"/>
                    <a:pt x="3693" y="1414"/>
                    <a:pt x="3687" y="1411"/>
                  </a:cubicBezTo>
                  <a:cubicBezTo>
                    <a:pt x="3635" y="1388"/>
                    <a:pt x="3579" y="1372"/>
                    <a:pt x="3522" y="1360"/>
                  </a:cubicBezTo>
                  <a:cubicBezTo>
                    <a:pt x="3494" y="1354"/>
                    <a:pt x="3465" y="1349"/>
                    <a:pt x="3436" y="1345"/>
                  </a:cubicBezTo>
                  <a:cubicBezTo>
                    <a:pt x="3406" y="1340"/>
                    <a:pt x="3377" y="1337"/>
                    <a:pt x="3347" y="1334"/>
                  </a:cubicBezTo>
                  <a:cubicBezTo>
                    <a:pt x="3288" y="1328"/>
                    <a:pt x="3227" y="1323"/>
                    <a:pt x="3167" y="1319"/>
                  </a:cubicBezTo>
                  <a:cubicBezTo>
                    <a:pt x="3045" y="1312"/>
                    <a:pt x="2921" y="1307"/>
                    <a:pt x="2795" y="1298"/>
                  </a:cubicBezTo>
                  <a:cubicBezTo>
                    <a:pt x="2733" y="1293"/>
                    <a:pt x="2670" y="1288"/>
                    <a:pt x="2607" y="1279"/>
                  </a:cubicBezTo>
                  <a:cubicBezTo>
                    <a:pt x="2544" y="1271"/>
                    <a:pt x="2480" y="1262"/>
                    <a:pt x="2417" y="1250"/>
                  </a:cubicBezTo>
                  <a:cubicBezTo>
                    <a:pt x="2354" y="1239"/>
                    <a:pt x="2291" y="1225"/>
                    <a:pt x="2229" y="1207"/>
                  </a:cubicBezTo>
                  <a:cubicBezTo>
                    <a:pt x="2197" y="1198"/>
                    <a:pt x="2167" y="1188"/>
                    <a:pt x="2136" y="1177"/>
                  </a:cubicBezTo>
                  <a:cubicBezTo>
                    <a:pt x="2106" y="1165"/>
                    <a:pt x="2076" y="1153"/>
                    <a:pt x="2046" y="1138"/>
                  </a:cubicBezTo>
                  <a:cubicBezTo>
                    <a:pt x="2017" y="1123"/>
                    <a:pt x="1989" y="1106"/>
                    <a:pt x="1963" y="1087"/>
                  </a:cubicBezTo>
                  <a:cubicBezTo>
                    <a:pt x="1937" y="1067"/>
                    <a:pt x="1912" y="1044"/>
                    <a:pt x="1892" y="1018"/>
                  </a:cubicBezTo>
                  <a:cubicBezTo>
                    <a:pt x="1885" y="1008"/>
                    <a:pt x="1885" y="1008"/>
                    <a:pt x="1885" y="1008"/>
                  </a:cubicBezTo>
                  <a:cubicBezTo>
                    <a:pt x="1883" y="1004"/>
                    <a:pt x="1880" y="1001"/>
                    <a:pt x="1878" y="997"/>
                  </a:cubicBezTo>
                  <a:cubicBezTo>
                    <a:pt x="1872" y="986"/>
                    <a:pt x="1872" y="986"/>
                    <a:pt x="1872" y="986"/>
                  </a:cubicBezTo>
                  <a:cubicBezTo>
                    <a:pt x="1871" y="985"/>
                    <a:pt x="1870" y="983"/>
                    <a:pt x="1869" y="981"/>
                  </a:cubicBezTo>
                  <a:cubicBezTo>
                    <a:pt x="1866" y="975"/>
                    <a:pt x="1866" y="975"/>
                    <a:pt x="1866" y="975"/>
                  </a:cubicBezTo>
                  <a:cubicBezTo>
                    <a:pt x="1861" y="964"/>
                    <a:pt x="1861" y="964"/>
                    <a:pt x="1861" y="964"/>
                  </a:cubicBezTo>
                  <a:cubicBezTo>
                    <a:pt x="1860" y="962"/>
                    <a:pt x="1859" y="960"/>
                    <a:pt x="1859" y="958"/>
                  </a:cubicBezTo>
                  <a:cubicBezTo>
                    <a:pt x="1857" y="952"/>
                    <a:pt x="1857" y="952"/>
                    <a:pt x="1857" y="952"/>
                  </a:cubicBezTo>
                  <a:cubicBezTo>
                    <a:pt x="1852" y="941"/>
                    <a:pt x="1852" y="941"/>
                    <a:pt x="1852" y="941"/>
                  </a:cubicBezTo>
                  <a:cubicBezTo>
                    <a:pt x="1851" y="937"/>
                    <a:pt x="1850" y="933"/>
                    <a:pt x="1849" y="929"/>
                  </a:cubicBezTo>
                  <a:cubicBezTo>
                    <a:pt x="1841" y="897"/>
                    <a:pt x="1840" y="862"/>
                    <a:pt x="1847" y="830"/>
                  </a:cubicBezTo>
                  <a:cubicBezTo>
                    <a:pt x="1848" y="825"/>
                    <a:pt x="1849" y="822"/>
                    <a:pt x="1851" y="818"/>
                  </a:cubicBezTo>
                  <a:cubicBezTo>
                    <a:pt x="1852" y="814"/>
                    <a:pt x="1853" y="810"/>
                    <a:pt x="1854" y="806"/>
                  </a:cubicBezTo>
                  <a:cubicBezTo>
                    <a:pt x="1858" y="794"/>
                    <a:pt x="1858" y="794"/>
                    <a:pt x="1858" y="794"/>
                  </a:cubicBezTo>
                  <a:cubicBezTo>
                    <a:pt x="1860" y="790"/>
                    <a:pt x="1861" y="786"/>
                    <a:pt x="1863" y="783"/>
                  </a:cubicBezTo>
                  <a:cubicBezTo>
                    <a:pt x="1866" y="775"/>
                    <a:pt x="1870" y="768"/>
                    <a:pt x="1874" y="760"/>
                  </a:cubicBezTo>
                  <a:cubicBezTo>
                    <a:pt x="1876" y="757"/>
                    <a:pt x="1878" y="753"/>
                    <a:pt x="1880" y="749"/>
                  </a:cubicBezTo>
                  <a:cubicBezTo>
                    <a:pt x="1883" y="744"/>
                    <a:pt x="1883" y="744"/>
                    <a:pt x="1883" y="744"/>
                  </a:cubicBezTo>
                  <a:cubicBezTo>
                    <a:pt x="1884" y="742"/>
                    <a:pt x="1885" y="741"/>
                    <a:pt x="1886" y="739"/>
                  </a:cubicBezTo>
                  <a:cubicBezTo>
                    <a:pt x="1893" y="729"/>
                    <a:pt x="1893" y="729"/>
                    <a:pt x="1893" y="729"/>
                  </a:cubicBezTo>
                  <a:cubicBezTo>
                    <a:pt x="1901" y="719"/>
                    <a:pt x="1901" y="719"/>
                    <a:pt x="1901" y="719"/>
                  </a:cubicBezTo>
                  <a:cubicBezTo>
                    <a:pt x="1904" y="714"/>
                    <a:pt x="1904" y="714"/>
                    <a:pt x="1904" y="714"/>
                  </a:cubicBezTo>
                  <a:cubicBezTo>
                    <a:pt x="1908" y="709"/>
                    <a:pt x="1908" y="709"/>
                    <a:pt x="1908" y="709"/>
                  </a:cubicBezTo>
                  <a:cubicBezTo>
                    <a:pt x="1916" y="699"/>
                    <a:pt x="1916" y="699"/>
                    <a:pt x="1916" y="699"/>
                  </a:cubicBezTo>
                  <a:cubicBezTo>
                    <a:pt x="1927" y="687"/>
                    <a:pt x="1938" y="675"/>
                    <a:pt x="1950" y="664"/>
                  </a:cubicBezTo>
                  <a:cubicBezTo>
                    <a:pt x="1956" y="658"/>
                    <a:pt x="1962" y="653"/>
                    <a:pt x="1969" y="647"/>
                  </a:cubicBezTo>
                  <a:cubicBezTo>
                    <a:pt x="1975" y="642"/>
                    <a:pt x="1981" y="637"/>
                    <a:pt x="1988" y="632"/>
                  </a:cubicBezTo>
                  <a:cubicBezTo>
                    <a:pt x="2001" y="622"/>
                    <a:pt x="2014" y="613"/>
                    <a:pt x="2028" y="604"/>
                  </a:cubicBezTo>
                  <a:cubicBezTo>
                    <a:pt x="2048" y="591"/>
                    <a:pt x="2048" y="591"/>
                    <a:pt x="2048" y="591"/>
                  </a:cubicBezTo>
                  <a:cubicBezTo>
                    <a:pt x="2070" y="578"/>
                    <a:pt x="2070" y="578"/>
                    <a:pt x="2070" y="578"/>
                  </a:cubicBezTo>
                  <a:cubicBezTo>
                    <a:pt x="2084" y="571"/>
                    <a:pt x="2098" y="563"/>
                    <a:pt x="2113" y="556"/>
                  </a:cubicBezTo>
                  <a:cubicBezTo>
                    <a:pt x="2172" y="527"/>
                    <a:pt x="2233" y="505"/>
                    <a:pt x="2295" y="487"/>
                  </a:cubicBezTo>
                  <a:cubicBezTo>
                    <a:pt x="2357" y="468"/>
                    <a:pt x="2419" y="452"/>
                    <a:pt x="2482" y="438"/>
                  </a:cubicBezTo>
                  <a:cubicBezTo>
                    <a:pt x="2544" y="424"/>
                    <a:pt x="2607" y="411"/>
                    <a:pt x="2666" y="388"/>
                  </a:cubicBezTo>
                  <a:cubicBezTo>
                    <a:pt x="2695" y="377"/>
                    <a:pt x="2723" y="363"/>
                    <a:pt x="2749" y="345"/>
                  </a:cubicBezTo>
                  <a:cubicBezTo>
                    <a:pt x="2775" y="327"/>
                    <a:pt x="2801" y="308"/>
                    <a:pt x="2814" y="281"/>
                  </a:cubicBezTo>
                  <a:cubicBezTo>
                    <a:pt x="2821" y="267"/>
                    <a:pt x="2825" y="252"/>
                    <a:pt x="2824" y="237"/>
                  </a:cubicBezTo>
                  <a:cubicBezTo>
                    <a:pt x="2823" y="230"/>
                    <a:pt x="2822" y="222"/>
                    <a:pt x="2820" y="215"/>
                  </a:cubicBezTo>
                  <a:cubicBezTo>
                    <a:pt x="2819" y="212"/>
                    <a:pt x="2819" y="212"/>
                    <a:pt x="2819" y="212"/>
                  </a:cubicBezTo>
                  <a:cubicBezTo>
                    <a:pt x="2819" y="211"/>
                    <a:pt x="2818" y="211"/>
                    <a:pt x="2818" y="210"/>
                  </a:cubicBezTo>
                  <a:cubicBezTo>
                    <a:pt x="2816" y="204"/>
                    <a:pt x="2816" y="204"/>
                    <a:pt x="2816" y="204"/>
                  </a:cubicBezTo>
                  <a:cubicBezTo>
                    <a:pt x="2813" y="199"/>
                    <a:pt x="2813" y="199"/>
                    <a:pt x="2813" y="199"/>
                  </a:cubicBezTo>
                  <a:cubicBezTo>
                    <a:pt x="2813" y="197"/>
                    <a:pt x="2812" y="196"/>
                    <a:pt x="2811" y="194"/>
                  </a:cubicBezTo>
                  <a:cubicBezTo>
                    <a:pt x="2804" y="180"/>
                    <a:pt x="2795" y="168"/>
                    <a:pt x="2785" y="156"/>
                  </a:cubicBezTo>
                  <a:cubicBezTo>
                    <a:pt x="2774" y="145"/>
                    <a:pt x="2763" y="135"/>
                    <a:pt x="2750" y="127"/>
                  </a:cubicBezTo>
                  <a:cubicBezTo>
                    <a:pt x="2738" y="118"/>
                    <a:pt x="2724" y="110"/>
                    <a:pt x="2710" y="104"/>
                  </a:cubicBezTo>
                  <a:cubicBezTo>
                    <a:pt x="2697" y="97"/>
                    <a:pt x="2682" y="92"/>
                    <a:pt x="2668" y="87"/>
                  </a:cubicBezTo>
                  <a:cubicBezTo>
                    <a:pt x="2639" y="77"/>
                    <a:pt x="2609" y="70"/>
                    <a:pt x="2579" y="65"/>
                  </a:cubicBezTo>
                  <a:cubicBezTo>
                    <a:pt x="2519" y="54"/>
                    <a:pt x="2459" y="50"/>
                    <a:pt x="2399" y="45"/>
                  </a:cubicBezTo>
                  <a:cubicBezTo>
                    <a:pt x="2340" y="40"/>
                    <a:pt x="2280" y="36"/>
                    <a:pt x="2222" y="33"/>
                  </a:cubicBezTo>
                  <a:cubicBezTo>
                    <a:pt x="2104" y="28"/>
                    <a:pt x="1990" y="22"/>
                    <a:pt x="1878" y="17"/>
                  </a:cubicBezTo>
                  <a:cubicBezTo>
                    <a:pt x="1766" y="12"/>
                    <a:pt x="1657" y="8"/>
                    <a:pt x="1552" y="6"/>
                  </a:cubicBezTo>
                  <a:cubicBezTo>
                    <a:pt x="1447" y="3"/>
                    <a:pt x="1345" y="3"/>
                    <a:pt x="1248" y="6"/>
                  </a:cubicBezTo>
                  <a:cubicBezTo>
                    <a:pt x="1053" y="11"/>
                    <a:pt x="874" y="28"/>
                    <a:pt x="718" y="55"/>
                  </a:cubicBezTo>
                  <a:cubicBezTo>
                    <a:pt x="640" y="69"/>
                    <a:pt x="567" y="85"/>
                    <a:pt x="501" y="103"/>
                  </a:cubicBezTo>
                  <a:cubicBezTo>
                    <a:pt x="484" y="107"/>
                    <a:pt x="468" y="112"/>
                    <a:pt x="452" y="116"/>
                  </a:cubicBezTo>
                  <a:cubicBezTo>
                    <a:pt x="445" y="119"/>
                    <a:pt x="437" y="121"/>
                    <a:pt x="429" y="123"/>
                  </a:cubicBezTo>
                  <a:cubicBezTo>
                    <a:pt x="421" y="126"/>
                    <a:pt x="414" y="128"/>
                    <a:pt x="406" y="131"/>
                  </a:cubicBezTo>
                  <a:cubicBezTo>
                    <a:pt x="391" y="135"/>
                    <a:pt x="377" y="140"/>
                    <a:pt x="362" y="145"/>
                  </a:cubicBezTo>
                  <a:cubicBezTo>
                    <a:pt x="348" y="150"/>
                    <a:pt x="335" y="155"/>
                    <a:pt x="321" y="160"/>
                  </a:cubicBezTo>
                  <a:cubicBezTo>
                    <a:pt x="214" y="199"/>
                    <a:pt x="134" y="239"/>
                    <a:pt x="81" y="269"/>
                  </a:cubicBezTo>
                  <a:cubicBezTo>
                    <a:pt x="74" y="272"/>
                    <a:pt x="68" y="276"/>
                    <a:pt x="62" y="279"/>
                  </a:cubicBezTo>
                  <a:cubicBezTo>
                    <a:pt x="56" y="282"/>
                    <a:pt x="51" y="286"/>
                    <a:pt x="46" y="289"/>
                  </a:cubicBezTo>
                  <a:cubicBezTo>
                    <a:pt x="36" y="295"/>
                    <a:pt x="27" y="300"/>
                    <a:pt x="20" y="304"/>
                  </a:cubicBezTo>
                  <a:cubicBezTo>
                    <a:pt x="7" y="312"/>
                    <a:pt x="0" y="316"/>
                    <a:pt x="0" y="316"/>
                  </a:cubicBezTo>
                  <a:cubicBezTo>
                    <a:pt x="0" y="316"/>
                    <a:pt x="7" y="312"/>
                    <a:pt x="20" y="304"/>
                  </a:cubicBezTo>
                  <a:cubicBezTo>
                    <a:pt x="27" y="300"/>
                    <a:pt x="36" y="295"/>
                    <a:pt x="46" y="289"/>
                  </a:cubicBezTo>
                  <a:cubicBezTo>
                    <a:pt x="51" y="286"/>
                    <a:pt x="56" y="282"/>
                    <a:pt x="62" y="279"/>
                  </a:cubicBezTo>
                  <a:cubicBezTo>
                    <a:pt x="68" y="276"/>
                    <a:pt x="74" y="272"/>
                    <a:pt x="81" y="269"/>
                  </a:cubicBezTo>
                  <a:cubicBezTo>
                    <a:pt x="134" y="239"/>
                    <a:pt x="214" y="198"/>
                    <a:pt x="321" y="159"/>
                  </a:cubicBezTo>
                  <a:cubicBezTo>
                    <a:pt x="334" y="154"/>
                    <a:pt x="348" y="149"/>
                    <a:pt x="362" y="144"/>
                  </a:cubicBezTo>
                  <a:cubicBezTo>
                    <a:pt x="376" y="139"/>
                    <a:pt x="391" y="134"/>
                    <a:pt x="406" y="130"/>
                  </a:cubicBezTo>
                  <a:cubicBezTo>
                    <a:pt x="413" y="127"/>
                    <a:pt x="421" y="125"/>
                    <a:pt x="429" y="122"/>
                  </a:cubicBezTo>
                  <a:cubicBezTo>
                    <a:pt x="436" y="120"/>
                    <a:pt x="444" y="118"/>
                    <a:pt x="452" y="115"/>
                  </a:cubicBezTo>
                  <a:cubicBezTo>
                    <a:pt x="468" y="111"/>
                    <a:pt x="484" y="106"/>
                    <a:pt x="501" y="101"/>
                  </a:cubicBezTo>
                  <a:cubicBezTo>
                    <a:pt x="567" y="84"/>
                    <a:pt x="639" y="67"/>
                    <a:pt x="718" y="54"/>
                  </a:cubicBezTo>
                  <a:cubicBezTo>
                    <a:pt x="874" y="25"/>
                    <a:pt x="1053" y="9"/>
                    <a:pt x="1248" y="3"/>
                  </a:cubicBezTo>
                  <a:cubicBezTo>
                    <a:pt x="1345" y="0"/>
                    <a:pt x="1447" y="0"/>
                    <a:pt x="1552" y="2"/>
                  </a:cubicBezTo>
                  <a:cubicBezTo>
                    <a:pt x="1658" y="4"/>
                    <a:pt x="1766" y="8"/>
                    <a:pt x="1878" y="12"/>
                  </a:cubicBezTo>
                  <a:cubicBezTo>
                    <a:pt x="1990" y="18"/>
                    <a:pt x="2105" y="23"/>
                    <a:pt x="2222" y="28"/>
                  </a:cubicBezTo>
                  <a:cubicBezTo>
                    <a:pt x="2281" y="31"/>
                    <a:pt x="2340" y="34"/>
                    <a:pt x="2400" y="39"/>
                  </a:cubicBezTo>
                  <a:cubicBezTo>
                    <a:pt x="2459" y="44"/>
                    <a:pt x="2520" y="48"/>
                    <a:pt x="2580" y="59"/>
                  </a:cubicBezTo>
                  <a:cubicBezTo>
                    <a:pt x="2611" y="64"/>
                    <a:pt x="2641" y="71"/>
                    <a:pt x="2670" y="81"/>
                  </a:cubicBezTo>
                  <a:cubicBezTo>
                    <a:pt x="2685" y="86"/>
                    <a:pt x="2699" y="91"/>
                    <a:pt x="2713" y="98"/>
                  </a:cubicBezTo>
                  <a:cubicBezTo>
                    <a:pt x="2727" y="105"/>
                    <a:pt x="2741" y="112"/>
                    <a:pt x="2754" y="121"/>
                  </a:cubicBezTo>
                  <a:cubicBezTo>
                    <a:pt x="2780" y="139"/>
                    <a:pt x="2803" y="162"/>
                    <a:pt x="2817" y="191"/>
                  </a:cubicBezTo>
                  <a:cubicBezTo>
                    <a:pt x="2818" y="193"/>
                    <a:pt x="2819" y="194"/>
                    <a:pt x="2820" y="196"/>
                  </a:cubicBezTo>
                  <a:cubicBezTo>
                    <a:pt x="2822" y="202"/>
                    <a:pt x="2822" y="202"/>
                    <a:pt x="2822" y="202"/>
                  </a:cubicBezTo>
                  <a:cubicBezTo>
                    <a:pt x="2824" y="207"/>
                    <a:pt x="2824" y="207"/>
                    <a:pt x="2824" y="207"/>
                  </a:cubicBezTo>
                  <a:cubicBezTo>
                    <a:pt x="2825" y="208"/>
                    <a:pt x="2825" y="209"/>
                    <a:pt x="2826" y="210"/>
                  </a:cubicBezTo>
                  <a:cubicBezTo>
                    <a:pt x="2826" y="213"/>
                    <a:pt x="2826" y="213"/>
                    <a:pt x="2826" y="213"/>
                  </a:cubicBezTo>
                  <a:cubicBezTo>
                    <a:pt x="2829" y="220"/>
                    <a:pt x="2830" y="229"/>
                    <a:pt x="2831" y="237"/>
                  </a:cubicBezTo>
                  <a:cubicBezTo>
                    <a:pt x="2832" y="253"/>
                    <a:pt x="2828" y="269"/>
                    <a:pt x="2821" y="284"/>
                  </a:cubicBezTo>
                  <a:cubicBezTo>
                    <a:pt x="2814" y="299"/>
                    <a:pt x="2803" y="311"/>
                    <a:pt x="2791" y="322"/>
                  </a:cubicBezTo>
                  <a:cubicBezTo>
                    <a:pt x="2785" y="327"/>
                    <a:pt x="2779" y="332"/>
                    <a:pt x="2773" y="337"/>
                  </a:cubicBezTo>
                  <a:cubicBezTo>
                    <a:pt x="2770" y="340"/>
                    <a:pt x="2767" y="342"/>
                    <a:pt x="2763" y="344"/>
                  </a:cubicBezTo>
                  <a:cubicBezTo>
                    <a:pt x="2754" y="351"/>
                    <a:pt x="2754" y="351"/>
                    <a:pt x="2754" y="351"/>
                  </a:cubicBezTo>
                  <a:cubicBezTo>
                    <a:pt x="2727" y="369"/>
                    <a:pt x="2698" y="384"/>
                    <a:pt x="2669" y="395"/>
                  </a:cubicBezTo>
                  <a:cubicBezTo>
                    <a:pt x="2609" y="419"/>
                    <a:pt x="2546" y="432"/>
                    <a:pt x="2484" y="446"/>
                  </a:cubicBezTo>
                  <a:cubicBezTo>
                    <a:pt x="2421" y="460"/>
                    <a:pt x="2359" y="476"/>
                    <a:pt x="2297" y="495"/>
                  </a:cubicBezTo>
                  <a:cubicBezTo>
                    <a:pt x="2236" y="514"/>
                    <a:pt x="2175" y="536"/>
                    <a:pt x="2117" y="564"/>
                  </a:cubicBezTo>
                  <a:cubicBezTo>
                    <a:pt x="2103" y="571"/>
                    <a:pt x="2088" y="579"/>
                    <a:pt x="2074" y="586"/>
                  </a:cubicBezTo>
                  <a:cubicBezTo>
                    <a:pt x="2053" y="599"/>
                    <a:pt x="2053" y="599"/>
                    <a:pt x="2053" y="599"/>
                  </a:cubicBezTo>
                  <a:cubicBezTo>
                    <a:pt x="2033" y="612"/>
                    <a:pt x="2033" y="612"/>
                    <a:pt x="2033" y="612"/>
                  </a:cubicBezTo>
                  <a:cubicBezTo>
                    <a:pt x="2020" y="620"/>
                    <a:pt x="2006" y="630"/>
                    <a:pt x="1993" y="640"/>
                  </a:cubicBezTo>
                  <a:cubicBezTo>
                    <a:pt x="1987" y="644"/>
                    <a:pt x="1981" y="650"/>
                    <a:pt x="1975" y="655"/>
                  </a:cubicBezTo>
                  <a:cubicBezTo>
                    <a:pt x="1969" y="660"/>
                    <a:pt x="1962" y="665"/>
                    <a:pt x="1957" y="671"/>
                  </a:cubicBezTo>
                  <a:cubicBezTo>
                    <a:pt x="1945" y="682"/>
                    <a:pt x="1934" y="693"/>
                    <a:pt x="1923" y="706"/>
                  </a:cubicBezTo>
                  <a:cubicBezTo>
                    <a:pt x="1916" y="715"/>
                    <a:pt x="1916" y="715"/>
                    <a:pt x="1916" y="715"/>
                  </a:cubicBezTo>
                  <a:cubicBezTo>
                    <a:pt x="1912" y="720"/>
                    <a:pt x="1912" y="720"/>
                    <a:pt x="1912" y="720"/>
                  </a:cubicBezTo>
                  <a:cubicBezTo>
                    <a:pt x="1908" y="724"/>
                    <a:pt x="1908" y="724"/>
                    <a:pt x="1908" y="724"/>
                  </a:cubicBezTo>
                  <a:cubicBezTo>
                    <a:pt x="1901" y="734"/>
                    <a:pt x="1901" y="734"/>
                    <a:pt x="1901" y="734"/>
                  </a:cubicBezTo>
                  <a:cubicBezTo>
                    <a:pt x="1895" y="744"/>
                    <a:pt x="1895" y="744"/>
                    <a:pt x="1895" y="744"/>
                  </a:cubicBezTo>
                  <a:cubicBezTo>
                    <a:pt x="1894" y="746"/>
                    <a:pt x="1892" y="748"/>
                    <a:pt x="1891" y="749"/>
                  </a:cubicBezTo>
                  <a:cubicBezTo>
                    <a:pt x="1888" y="754"/>
                    <a:pt x="1888" y="754"/>
                    <a:pt x="1888" y="754"/>
                  </a:cubicBezTo>
                  <a:cubicBezTo>
                    <a:pt x="1886" y="758"/>
                    <a:pt x="1884" y="761"/>
                    <a:pt x="1882" y="765"/>
                  </a:cubicBezTo>
                  <a:cubicBezTo>
                    <a:pt x="1879" y="772"/>
                    <a:pt x="1875" y="779"/>
                    <a:pt x="1872" y="787"/>
                  </a:cubicBezTo>
                  <a:cubicBezTo>
                    <a:pt x="1871" y="790"/>
                    <a:pt x="1869" y="794"/>
                    <a:pt x="1868" y="798"/>
                  </a:cubicBezTo>
                  <a:cubicBezTo>
                    <a:pt x="1864" y="809"/>
                    <a:pt x="1864" y="809"/>
                    <a:pt x="1864" y="809"/>
                  </a:cubicBezTo>
                  <a:cubicBezTo>
                    <a:pt x="1862" y="812"/>
                    <a:pt x="1861" y="816"/>
                    <a:pt x="1860" y="820"/>
                  </a:cubicBezTo>
                  <a:cubicBezTo>
                    <a:pt x="1859" y="824"/>
                    <a:pt x="1858" y="828"/>
                    <a:pt x="1857" y="832"/>
                  </a:cubicBezTo>
                  <a:cubicBezTo>
                    <a:pt x="1850" y="863"/>
                    <a:pt x="1851" y="895"/>
                    <a:pt x="1859" y="926"/>
                  </a:cubicBezTo>
                  <a:cubicBezTo>
                    <a:pt x="1860" y="930"/>
                    <a:pt x="1861" y="934"/>
                    <a:pt x="1862" y="938"/>
                  </a:cubicBezTo>
                  <a:cubicBezTo>
                    <a:pt x="1866" y="949"/>
                    <a:pt x="1866" y="949"/>
                    <a:pt x="1866" y="949"/>
                  </a:cubicBezTo>
                  <a:cubicBezTo>
                    <a:pt x="1868" y="954"/>
                    <a:pt x="1868" y="954"/>
                    <a:pt x="1868" y="954"/>
                  </a:cubicBezTo>
                  <a:cubicBezTo>
                    <a:pt x="1869" y="956"/>
                    <a:pt x="1870" y="958"/>
                    <a:pt x="1871" y="960"/>
                  </a:cubicBezTo>
                  <a:cubicBezTo>
                    <a:pt x="1876" y="971"/>
                    <a:pt x="1876" y="971"/>
                    <a:pt x="1876" y="971"/>
                  </a:cubicBezTo>
                  <a:cubicBezTo>
                    <a:pt x="1878" y="976"/>
                    <a:pt x="1878" y="976"/>
                    <a:pt x="1878" y="976"/>
                  </a:cubicBezTo>
                  <a:cubicBezTo>
                    <a:pt x="1879" y="978"/>
                    <a:pt x="1880" y="980"/>
                    <a:pt x="1881" y="981"/>
                  </a:cubicBezTo>
                  <a:cubicBezTo>
                    <a:pt x="1887" y="992"/>
                    <a:pt x="1887" y="992"/>
                    <a:pt x="1887" y="992"/>
                  </a:cubicBezTo>
                  <a:cubicBezTo>
                    <a:pt x="1889" y="995"/>
                    <a:pt x="1891" y="998"/>
                    <a:pt x="1894" y="1002"/>
                  </a:cubicBezTo>
                  <a:cubicBezTo>
                    <a:pt x="1901" y="1011"/>
                    <a:pt x="1901" y="1011"/>
                    <a:pt x="1901" y="1011"/>
                  </a:cubicBezTo>
                  <a:cubicBezTo>
                    <a:pt x="1920" y="1037"/>
                    <a:pt x="1944" y="1059"/>
                    <a:pt x="1969" y="1078"/>
                  </a:cubicBezTo>
                  <a:cubicBezTo>
                    <a:pt x="1995" y="1097"/>
                    <a:pt x="2023" y="1114"/>
                    <a:pt x="2051" y="1128"/>
                  </a:cubicBezTo>
                  <a:cubicBezTo>
                    <a:pt x="2080" y="1143"/>
                    <a:pt x="2110" y="1155"/>
                    <a:pt x="2140" y="1166"/>
                  </a:cubicBezTo>
                  <a:cubicBezTo>
                    <a:pt x="2170" y="1178"/>
                    <a:pt x="2201" y="1187"/>
                    <a:pt x="2232" y="1196"/>
                  </a:cubicBezTo>
                  <a:cubicBezTo>
                    <a:pt x="2294" y="1214"/>
                    <a:pt x="2356" y="1227"/>
                    <a:pt x="2419" y="1239"/>
                  </a:cubicBezTo>
                  <a:cubicBezTo>
                    <a:pt x="2482" y="1250"/>
                    <a:pt x="2545" y="1259"/>
                    <a:pt x="2608" y="1267"/>
                  </a:cubicBezTo>
                  <a:cubicBezTo>
                    <a:pt x="2671" y="1275"/>
                    <a:pt x="2734" y="1281"/>
                    <a:pt x="2796" y="1285"/>
                  </a:cubicBezTo>
                  <a:cubicBezTo>
                    <a:pt x="2921" y="1294"/>
                    <a:pt x="3045" y="1298"/>
                    <a:pt x="3167" y="1306"/>
                  </a:cubicBezTo>
                  <a:cubicBezTo>
                    <a:pt x="3228" y="1309"/>
                    <a:pt x="3289" y="1314"/>
                    <a:pt x="3349" y="1320"/>
                  </a:cubicBezTo>
                  <a:cubicBezTo>
                    <a:pt x="3408" y="1326"/>
                    <a:pt x="3468" y="1334"/>
                    <a:pt x="3525" y="1346"/>
                  </a:cubicBezTo>
                  <a:cubicBezTo>
                    <a:pt x="3583" y="1358"/>
                    <a:pt x="3640" y="1374"/>
                    <a:pt x="3693" y="1398"/>
                  </a:cubicBezTo>
                  <a:cubicBezTo>
                    <a:pt x="3700" y="1401"/>
                    <a:pt x="3706" y="1403"/>
                    <a:pt x="3713" y="1407"/>
                  </a:cubicBezTo>
                  <a:cubicBezTo>
                    <a:pt x="3723" y="1412"/>
                    <a:pt x="3723" y="1412"/>
                    <a:pt x="3723" y="1412"/>
                  </a:cubicBezTo>
                  <a:cubicBezTo>
                    <a:pt x="3732" y="1417"/>
                    <a:pt x="3732" y="1417"/>
                    <a:pt x="3732" y="1417"/>
                  </a:cubicBezTo>
                  <a:cubicBezTo>
                    <a:pt x="3737" y="1419"/>
                    <a:pt x="3737" y="1419"/>
                    <a:pt x="3737" y="1419"/>
                  </a:cubicBezTo>
                  <a:cubicBezTo>
                    <a:pt x="3739" y="1421"/>
                    <a:pt x="3739" y="1421"/>
                    <a:pt x="3739" y="1421"/>
                  </a:cubicBezTo>
                  <a:cubicBezTo>
                    <a:pt x="3742" y="1422"/>
                    <a:pt x="3742" y="1422"/>
                    <a:pt x="3742" y="1422"/>
                  </a:cubicBezTo>
                  <a:cubicBezTo>
                    <a:pt x="3751" y="1427"/>
                    <a:pt x="3751" y="1427"/>
                    <a:pt x="3751" y="1427"/>
                  </a:cubicBezTo>
                  <a:cubicBezTo>
                    <a:pt x="3757" y="1431"/>
                    <a:pt x="3763" y="1435"/>
                    <a:pt x="3769" y="1438"/>
                  </a:cubicBezTo>
                  <a:cubicBezTo>
                    <a:pt x="3774" y="1441"/>
                    <a:pt x="3774" y="1441"/>
                    <a:pt x="3774" y="1441"/>
                  </a:cubicBezTo>
                  <a:cubicBezTo>
                    <a:pt x="3778" y="1444"/>
                    <a:pt x="3778" y="1444"/>
                    <a:pt x="3778" y="1444"/>
                  </a:cubicBezTo>
                  <a:cubicBezTo>
                    <a:pt x="3787" y="1450"/>
                    <a:pt x="3787" y="1450"/>
                    <a:pt x="3787" y="1450"/>
                  </a:cubicBezTo>
                  <a:cubicBezTo>
                    <a:pt x="3793" y="1454"/>
                    <a:pt x="3799" y="1458"/>
                    <a:pt x="3805" y="1462"/>
                  </a:cubicBezTo>
                  <a:cubicBezTo>
                    <a:pt x="3811" y="1466"/>
                    <a:pt x="3817" y="1470"/>
                    <a:pt x="3822" y="1474"/>
                  </a:cubicBezTo>
                  <a:cubicBezTo>
                    <a:pt x="3828" y="1478"/>
                    <a:pt x="3834" y="1482"/>
                    <a:pt x="3839" y="1487"/>
                  </a:cubicBezTo>
                  <a:cubicBezTo>
                    <a:pt x="3845" y="1491"/>
                    <a:pt x="3850" y="1496"/>
                    <a:pt x="3856" y="1500"/>
                  </a:cubicBezTo>
                  <a:cubicBezTo>
                    <a:pt x="3859" y="1503"/>
                    <a:pt x="3861" y="1505"/>
                    <a:pt x="3864" y="1507"/>
                  </a:cubicBezTo>
                  <a:cubicBezTo>
                    <a:pt x="3872" y="1514"/>
                    <a:pt x="3872" y="1514"/>
                    <a:pt x="3872" y="1514"/>
                  </a:cubicBezTo>
                  <a:cubicBezTo>
                    <a:pt x="3877" y="1519"/>
                    <a:pt x="3882" y="1524"/>
                    <a:pt x="3887" y="1529"/>
                  </a:cubicBezTo>
                  <a:cubicBezTo>
                    <a:pt x="3892" y="1534"/>
                    <a:pt x="3897" y="1539"/>
                    <a:pt x="3902" y="1544"/>
                  </a:cubicBezTo>
                  <a:cubicBezTo>
                    <a:pt x="3909" y="1552"/>
                    <a:pt x="3909" y="1552"/>
                    <a:pt x="3909" y="1552"/>
                  </a:cubicBezTo>
                  <a:cubicBezTo>
                    <a:pt x="3911" y="1554"/>
                    <a:pt x="3913" y="1557"/>
                    <a:pt x="3916" y="1560"/>
                  </a:cubicBezTo>
                  <a:cubicBezTo>
                    <a:pt x="3920" y="1565"/>
                    <a:pt x="3924" y="1570"/>
                    <a:pt x="3929" y="1576"/>
                  </a:cubicBezTo>
                  <a:cubicBezTo>
                    <a:pt x="3933" y="1581"/>
                    <a:pt x="3937" y="1587"/>
                    <a:pt x="3941" y="1593"/>
                  </a:cubicBezTo>
                  <a:cubicBezTo>
                    <a:pt x="3947" y="1601"/>
                    <a:pt x="3947" y="1601"/>
                    <a:pt x="3947" y="1601"/>
                  </a:cubicBezTo>
                  <a:cubicBezTo>
                    <a:pt x="3949" y="1604"/>
                    <a:pt x="3951" y="1607"/>
                    <a:pt x="3952" y="1610"/>
                  </a:cubicBezTo>
                  <a:cubicBezTo>
                    <a:pt x="3956" y="1616"/>
                    <a:pt x="3960" y="1622"/>
                    <a:pt x="3963" y="1628"/>
                  </a:cubicBezTo>
                  <a:cubicBezTo>
                    <a:pt x="3966" y="1634"/>
                    <a:pt x="3969" y="1640"/>
                    <a:pt x="3973" y="1646"/>
                  </a:cubicBezTo>
                  <a:cubicBezTo>
                    <a:pt x="3976" y="1652"/>
                    <a:pt x="3978" y="1659"/>
                    <a:pt x="3981" y="1665"/>
                  </a:cubicBezTo>
                  <a:cubicBezTo>
                    <a:pt x="3983" y="1672"/>
                    <a:pt x="3986" y="1678"/>
                    <a:pt x="3988" y="1684"/>
                  </a:cubicBezTo>
                  <a:cubicBezTo>
                    <a:pt x="3990" y="1691"/>
                    <a:pt x="3993" y="1697"/>
                    <a:pt x="3995" y="1704"/>
                  </a:cubicBezTo>
                  <a:cubicBezTo>
                    <a:pt x="3996" y="1710"/>
                    <a:pt x="3998" y="1717"/>
                    <a:pt x="4000" y="1724"/>
                  </a:cubicBezTo>
                  <a:cubicBezTo>
                    <a:pt x="4000" y="1727"/>
                    <a:pt x="4001" y="1730"/>
                    <a:pt x="4002" y="1734"/>
                  </a:cubicBezTo>
                  <a:cubicBezTo>
                    <a:pt x="4004" y="1743"/>
                    <a:pt x="4004" y="1743"/>
                    <a:pt x="4004" y="1743"/>
                  </a:cubicBezTo>
                  <a:cubicBezTo>
                    <a:pt x="4005" y="1753"/>
                    <a:pt x="4005" y="1753"/>
                    <a:pt x="4005" y="1753"/>
                  </a:cubicBezTo>
                  <a:cubicBezTo>
                    <a:pt x="4006" y="1758"/>
                    <a:pt x="4006" y="1758"/>
                    <a:pt x="4006" y="1758"/>
                  </a:cubicBezTo>
                  <a:cubicBezTo>
                    <a:pt x="4007" y="1763"/>
                    <a:pt x="4007" y="1763"/>
                    <a:pt x="4007" y="1763"/>
                  </a:cubicBezTo>
                  <a:cubicBezTo>
                    <a:pt x="4007" y="1770"/>
                    <a:pt x="4008" y="1777"/>
                    <a:pt x="4008" y="1783"/>
                  </a:cubicBezTo>
                  <a:cubicBezTo>
                    <a:pt x="4009" y="1790"/>
                    <a:pt x="4009" y="1797"/>
                    <a:pt x="4009" y="1803"/>
                  </a:cubicBezTo>
                  <a:cubicBezTo>
                    <a:pt x="4009" y="1813"/>
                    <a:pt x="4009" y="1813"/>
                    <a:pt x="4009" y="1813"/>
                  </a:cubicBezTo>
                  <a:cubicBezTo>
                    <a:pt x="4009" y="1823"/>
                    <a:pt x="4009" y="1823"/>
                    <a:pt x="4009" y="1823"/>
                  </a:cubicBezTo>
                  <a:cubicBezTo>
                    <a:pt x="4009" y="1830"/>
                    <a:pt x="4009" y="1837"/>
                    <a:pt x="4008" y="1843"/>
                  </a:cubicBezTo>
                  <a:cubicBezTo>
                    <a:pt x="4007" y="1856"/>
                    <a:pt x="4006" y="1869"/>
                    <a:pt x="4004" y="1882"/>
                  </a:cubicBezTo>
                  <a:cubicBezTo>
                    <a:pt x="4003" y="1889"/>
                    <a:pt x="4002" y="1895"/>
                    <a:pt x="4001" y="1901"/>
                  </a:cubicBezTo>
                  <a:cubicBezTo>
                    <a:pt x="3999" y="1908"/>
                    <a:pt x="3998" y="1914"/>
                    <a:pt x="3997" y="1920"/>
                  </a:cubicBezTo>
                  <a:cubicBezTo>
                    <a:pt x="3996" y="1927"/>
                    <a:pt x="3994" y="1933"/>
                    <a:pt x="3992" y="1939"/>
                  </a:cubicBezTo>
                  <a:cubicBezTo>
                    <a:pt x="3990" y="1945"/>
                    <a:pt x="3989" y="1951"/>
                    <a:pt x="3987" y="1958"/>
                  </a:cubicBezTo>
                  <a:cubicBezTo>
                    <a:pt x="3985" y="1964"/>
                    <a:pt x="3983" y="1970"/>
                    <a:pt x="3982" y="1976"/>
                  </a:cubicBezTo>
                  <a:cubicBezTo>
                    <a:pt x="3979" y="1985"/>
                    <a:pt x="3979" y="1985"/>
                    <a:pt x="3979" y="1985"/>
                  </a:cubicBezTo>
                  <a:cubicBezTo>
                    <a:pt x="3976" y="1994"/>
                    <a:pt x="3976" y="1994"/>
                    <a:pt x="3976" y="1994"/>
                  </a:cubicBezTo>
                  <a:cubicBezTo>
                    <a:pt x="3973" y="2000"/>
                    <a:pt x="3971" y="2006"/>
                    <a:pt x="3969" y="2011"/>
                  </a:cubicBezTo>
                  <a:cubicBezTo>
                    <a:pt x="3967" y="2017"/>
                    <a:pt x="3965" y="2023"/>
                    <a:pt x="3962" y="2029"/>
                  </a:cubicBezTo>
                  <a:cubicBezTo>
                    <a:pt x="3958" y="2040"/>
                    <a:pt x="3953" y="2052"/>
                    <a:pt x="3948" y="2063"/>
                  </a:cubicBezTo>
                  <a:cubicBezTo>
                    <a:pt x="3928" y="2108"/>
                    <a:pt x="3905" y="2150"/>
                    <a:pt x="3881" y="2191"/>
                  </a:cubicBezTo>
                  <a:cubicBezTo>
                    <a:pt x="3856" y="2231"/>
                    <a:pt x="3831" y="2269"/>
                    <a:pt x="3805" y="2305"/>
                  </a:cubicBezTo>
                  <a:cubicBezTo>
                    <a:pt x="3753" y="2378"/>
                    <a:pt x="3700" y="2444"/>
                    <a:pt x="3649" y="2505"/>
                  </a:cubicBezTo>
                  <a:cubicBezTo>
                    <a:pt x="3598" y="2566"/>
                    <a:pt x="3548" y="2621"/>
                    <a:pt x="3503" y="2673"/>
                  </a:cubicBezTo>
                  <a:cubicBezTo>
                    <a:pt x="3457" y="2724"/>
                    <a:pt x="3414" y="2770"/>
                    <a:pt x="3376" y="2813"/>
                  </a:cubicBezTo>
                  <a:cubicBezTo>
                    <a:pt x="3338" y="2855"/>
                    <a:pt x="3304" y="2893"/>
                    <a:pt x="3276" y="2926"/>
                  </a:cubicBezTo>
                  <a:cubicBezTo>
                    <a:pt x="3247" y="2960"/>
                    <a:pt x="3224" y="2989"/>
                    <a:pt x="3205" y="3013"/>
                  </a:cubicBezTo>
                  <a:cubicBezTo>
                    <a:pt x="3187" y="3037"/>
                    <a:pt x="3174" y="3056"/>
                    <a:pt x="3165" y="3069"/>
                  </a:cubicBezTo>
                  <a:cubicBezTo>
                    <a:pt x="3157" y="3083"/>
                    <a:pt x="3152" y="3089"/>
                    <a:pt x="3152" y="3089"/>
                  </a:cubicBezTo>
                  <a:lnTo>
                    <a:pt x="3136" y="3079"/>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80"/>
          <p:cNvGrpSpPr/>
          <p:nvPr/>
        </p:nvGrpSpPr>
        <p:grpSpPr>
          <a:xfrm>
            <a:off x="2226959" y="4566684"/>
            <a:ext cx="1157370" cy="2241799"/>
            <a:chOff x="6940174" y="3246442"/>
            <a:chExt cx="1175340" cy="2223712"/>
          </a:xfrm>
        </p:grpSpPr>
        <p:grpSp>
          <p:nvGrpSpPr>
            <p:cNvPr id="82" name="Group 81"/>
            <p:cNvGrpSpPr/>
            <p:nvPr/>
          </p:nvGrpSpPr>
          <p:grpSpPr>
            <a:xfrm>
              <a:off x="6940174" y="3246442"/>
              <a:ext cx="1175340" cy="2192500"/>
              <a:chOff x="5455241" y="1480656"/>
              <a:chExt cx="1517619" cy="2830995"/>
            </a:xfrm>
          </p:grpSpPr>
          <p:grpSp>
            <p:nvGrpSpPr>
              <p:cNvPr id="84" name="Group 83"/>
              <p:cNvGrpSpPr/>
              <p:nvPr/>
            </p:nvGrpSpPr>
            <p:grpSpPr>
              <a:xfrm>
                <a:off x="6083422" y="2925441"/>
                <a:ext cx="246291" cy="1386210"/>
                <a:chOff x="2641600" y="3431522"/>
                <a:chExt cx="246291" cy="2446764"/>
              </a:xfrm>
            </p:grpSpPr>
            <p:sp>
              <p:nvSpPr>
                <p:cNvPr id="87" name="Rectangle 86"/>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5" name="Flowchart: Connector 84"/>
              <p:cNvSpPr/>
              <p:nvPr/>
            </p:nvSpPr>
            <p:spPr>
              <a:xfrm>
                <a:off x="5455241" y="1480656"/>
                <a:ext cx="1517619" cy="1517619"/>
              </a:xfrm>
              <a:prstGeom prst="flowChartConnector">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Flowchart: Connector 85"/>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Oval 82"/>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9" name="Group 98"/>
          <p:cNvGrpSpPr/>
          <p:nvPr/>
        </p:nvGrpSpPr>
        <p:grpSpPr>
          <a:xfrm>
            <a:off x="70160" y="2919224"/>
            <a:ext cx="685770" cy="1410428"/>
            <a:chOff x="6940174" y="3246442"/>
            <a:chExt cx="1175340" cy="2223712"/>
          </a:xfrm>
        </p:grpSpPr>
        <p:grpSp>
          <p:nvGrpSpPr>
            <p:cNvPr id="100" name="Group 99"/>
            <p:cNvGrpSpPr/>
            <p:nvPr/>
          </p:nvGrpSpPr>
          <p:grpSpPr>
            <a:xfrm>
              <a:off x="6940174" y="3246442"/>
              <a:ext cx="1175340" cy="2192500"/>
              <a:chOff x="5455241" y="1480656"/>
              <a:chExt cx="1517619" cy="2830995"/>
            </a:xfrm>
          </p:grpSpPr>
          <p:grpSp>
            <p:nvGrpSpPr>
              <p:cNvPr id="102" name="Group 101"/>
              <p:cNvGrpSpPr/>
              <p:nvPr/>
            </p:nvGrpSpPr>
            <p:grpSpPr>
              <a:xfrm>
                <a:off x="6083422" y="2925441"/>
                <a:ext cx="246291" cy="1386210"/>
                <a:chOff x="2641600" y="3431522"/>
                <a:chExt cx="246291" cy="2446764"/>
              </a:xfrm>
            </p:grpSpPr>
            <p:sp>
              <p:nvSpPr>
                <p:cNvPr id="105" name="Rectangle 104"/>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3" name="Flowchart: Connector 102"/>
              <p:cNvSpPr/>
              <p:nvPr/>
            </p:nvSpPr>
            <p:spPr>
              <a:xfrm>
                <a:off x="5455241" y="1480656"/>
                <a:ext cx="1517619" cy="1517619"/>
              </a:xfrm>
              <a:prstGeom prst="flowChartConnector">
                <a:avLst/>
              </a:prstGeom>
              <a:solidFill>
                <a:srgbClr val="F5C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Flowchart: Connector 103"/>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1" name="Oval 100"/>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7" name="Graphic 6" descr="Building Brick Wall with solid fill">
            <a:extLst>
              <a:ext uri="{FF2B5EF4-FFF2-40B4-BE49-F238E27FC236}">
                <a16:creationId xmlns:a16="http://schemas.microsoft.com/office/drawing/2014/main" id="{4BC1CC32-1AFF-5142-B207-7C6F9016A96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512234" y="4867177"/>
            <a:ext cx="586821" cy="586821"/>
          </a:xfrm>
          <a:prstGeom prst="rect">
            <a:avLst/>
          </a:prstGeom>
        </p:spPr>
      </p:pic>
      <p:pic>
        <p:nvPicPr>
          <p:cNvPr id="11" name="Graphic 10" descr="Checklist with solid fill">
            <a:extLst>
              <a:ext uri="{FF2B5EF4-FFF2-40B4-BE49-F238E27FC236}">
                <a16:creationId xmlns:a16="http://schemas.microsoft.com/office/drawing/2014/main" id="{0926DBE0-6C50-794B-88F5-A66D97095F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6229" y="3062461"/>
            <a:ext cx="486368" cy="486368"/>
          </a:xfrm>
          <a:prstGeom prst="rect">
            <a:avLst/>
          </a:prstGeom>
        </p:spPr>
      </p:pic>
      <p:pic>
        <p:nvPicPr>
          <p:cNvPr id="116" name="Picture 115" descr="A picture containing text, road, sky, outdoor&#10;&#10;Description automatically generated">
            <a:extLst>
              <a:ext uri="{FF2B5EF4-FFF2-40B4-BE49-F238E27FC236}">
                <a16:creationId xmlns:a16="http://schemas.microsoft.com/office/drawing/2014/main" id="{81F61052-0FDE-DC4F-9A1F-06F1F6701604}"/>
              </a:ext>
            </a:extLst>
          </p:cNvPr>
          <p:cNvPicPr>
            <a:picLocks noChangeAspect="1"/>
          </p:cNvPicPr>
          <p:nvPr/>
        </p:nvPicPr>
        <p:blipFill rotWithShape="1">
          <a:blip r:embed="rId8"/>
          <a:srcRect t="54405"/>
          <a:stretch/>
        </p:blipFill>
        <p:spPr>
          <a:xfrm>
            <a:off x="20" y="10"/>
            <a:ext cx="12191980" cy="1850760"/>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cxnSp>
        <p:nvCxnSpPr>
          <p:cNvPr id="124" name="Straight Connector 123">
            <a:extLst>
              <a:ext uri="{FF2B5EF4-FFF2-40B4-BE49-F238E27FC236}">
                <a16:creationId xmlns:a16="http://schemas.microsoft.com/office/drawing/2014/main" id="{8BC881F4-D908-FA4F-8416-45CFF68AA272}"/>
              </a:ext>
            </a:extLst>
          </p:cNvPr>
          <p:cNvCxnSpPr>
            <a:cxnSpLocks/>
          </p:cNvCxnSpPr>
          <p:nvPr/>
        </p:nvCxnSpPr>
        <p:spPr>
          <a:xfrm>
            <a:off x="7853648" y="2900038"/>
            <a:ext cx="0" cy="289364"/>
          </a:xfrm>
          <a:prstGeom prst="line">
            <a:avLst/>
          </a:prstGeom>
          <a:ln>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128" name="TextBox 127">
            <a:extLst>
              <a:ext uri="{FF2B5EF4-FFF2-40B4-BE49-F238E27FC236}">
                <a16:creationId xmlns:a16="http://schemas.microsoft.com/office/drawing/2014/main" id="{8275F65D-B990-AD40-A100-4E1435D2A39B}"/>
              </a:ext>
            </a:extLst>
          </p:cNvPr>
          <p:cNvSpPr txBox="1"/>
          <p:nvPr/>
        </p:nvSpPr>
        <p:spPr>
          <a:xfrm>
            <a:off x="7925905" y="2718715"/>
            <a:ext cx="818813" cy="400110"/>
          </a:xfrm>
          <a:prstGeom prst="rect">
            <a:avLst/>
          </a:prstGeom>
          <a:noFill/>
        </p:spPr>
        <p:txBody>
          <a:bodyPr wrap="square" rtlCol="0">
            <a:spAutoFit/>
          </a:bodyPr>
          <a:lstStyle/>
          <a:p>
            <a:r>
              <a:rPr lang="en-US" sz="2000" b="1" dirty="0">
                <a:solidFill>
                  <a:srgbClr val="FF0000"/>
                </a:solidFill>
              </a:rPr>
              <a:t>2017</a:t>
            </a:r>
            <a:endParaRPr lang="en-GB" sz="2000" b="1" dirty="0">
              <a:solidFill>
                <a:srgbClr val="FF0000"/>
              </a:solidFill>
            </a:endParaRPr>
          </a:p>
        </p:txBody>
      </p:sp>
      <p:sp>
        <p:nvSpPr>
          <p:cNvPr id="137" name="TextBox 136">
            <a:extLst>
              <a:ext uri="{FF2B5EF4-FFF2-40B4-BE49-F238E27FC236}">
                <a16:creationId xmlns:a16="http://schemas.microsoft.com/office/drawing/2014/main" id="{8F35F08A-A70B-944A-ADBB-B433D17302D9}"/>
              </a:ext>
            </a:extLst>
          </p:cNvPr>
          <p:cNvSpPr txBox="1"/>
          <p:nvPr/>
        </p:nvSpPr>
        <p:spPr>
          <a:xfrm>
            <a:off x="7924720" y="2993267"/>
            <a:ext cx="3709745" cy="307777"/>
          </a:xfrm>
          <a:prstGeom prst="rect">
            <a:avLst/>
          </a:prstGeom>
          <a:noFill/>
        </p:spPr>
        <p:txBody>
          <a:bodyPr wrap="square" rtlCol="0">
            <a:spAutoFit/>
          </a:bodyPr>
          <a:lstStyle/>
          <a:p>
            <a:r>
              <a:rPr lang="en-US" sz="1400" dirty="0"/>
              <a:t>Build Foundation</a:t>
            </a:r>
          </a:p>
        </p:txBody>
      </p:sp>
      <p:cxnSp>
        <p:nvCxnSpPr>
          <p:cNvPr id="141" name="Straight Connector 140">
            <a:extLst>
              <a:ext uri="{FF2B5EF4-FFF2-40B4-BE49-F238E27FC236}">
                <a16:creationId xmlns:a16="http://schemas.microsoft.com/office/drawing/2014/main" id="{46F8F088-629C-E249-A968-99B7F9860AF1}"/>
              </a:ext>
            </a:extLst>
          </p:cNvPr>
          <p:cNvCxnSpPr>
            <a:cxnSpLocks/>
          </p:cNvCxnSpPr>
          <p:nvPr/>
        </p:nvCxnSpPr>
        <p:spPr>
          <a:xfrm>
            <a:off x="7853648" y="3601741"/>
            <a:ext cx="0" cy="289364"/>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C9851C71-6F21-2D41-B48D-D0CC21DFCA54}"/>
              </a:ext>
            </a:extLst>
          </p:cNvPr>
          <p:cNvSpPr txBox="1"/>
          <p:nvPr/>
        </p:nvSpPr>
        <p:spPr>
          <a:xfrm>
            <a:off x="7925905" y="3420418"/>
            <a:ext cx="818813" cy="400110"/>
          </a:xfrm>
          <a:prstGeom prst="rect">
            <a:avLst/>
          </a:prstGeom>
          <a:noFill/>
        </p:spPr>
        <p:txBody>
          <a:bodyPr wrap="square" rtlCol="0">
            <a:spAutoFit/>
          </a:bodyPr>
          <a:lstStyle/>
          <a:p>
            <a:r>
              <a:rPr lang="en-US" sz="2000" b="1" dirty="0">
                <a:solidFill>
                  <a:schemeClr val="accent2"/>
                </a:solidFill>
              </a:rPr>
              <a:t>2018</a:t>
            </a:r>
            <a:endParaRPr lang="en-GB" sz="2000" b="1" dirty="0">
              <a:solidFill>
                <a:schemeClr val="accent2"/>
              </a:solidFill>
            </a:endParaRPr>
          </a:p>
        </p:txBody>
      </p:sp>
      <p:sp>
        <p:nvSpPr>
          <p:cNvPr id="148" name="TextBox 147">
            <a:extLst>
              <a:ext uri="{FF2B5EF4-FFF2-40B4-BE49-F238E27FC236}">
                <a16:creationId xmlns:a16="http://schemas.microsoft.com/office/drawing/2014/main" id="{F51F1BBA-EC59-6940-9673-035630F2C26B}"/>
              </a:ext>
            </a:extLst>
          </p:cNvPr>
          <p:cNvSpPr txBox="1"/>
          <p:nvPr/>
        </p:nvSpPr>
        <p:spPr>
          <a:xfrm>
            <a:off x="7924720" y="3694970"/>
            <a:ext cx="3709745" cy="307777"/>
          </a:xfrm>
          <a:prstGeom prst="rect">
            <a:avLst/>
          </a:prstGeom>
          <a:noFill/>
        </p:spPr>
        <p:txBody>
          <a:bodyPr wrap="square" rtlCol="0">
            <a:spAutoFit/>
          </a:bodyPr>
          <a:lstStyle/>
          <a:p>
            <a:r>
              <a:rPr lang="en-US" sz="1400" dirty="0"/>
              <a:t>Automation journey through trial and error</a:t>
            </a:r>
          </a:p>
        </p:txBody>
      </p:sp>
      <p:cxnSp>
        <p:nvCxnSpPr>
          <p:cNvPr id="66" name="Straight Connector 65">
            <a:extLst>
              <a:ext uri="{FF2B5EF4-FFF2-40B4-BE49-F238E27FC236}">
                <a16:creationId xmlns:a16="http://schemas.microsoft.com/office/drawing/2014/main" id="{8529F6ED-C939-D940-878E-F855B6C4DBDB}"/>
              </a:ext>
            </a:extLst>
          </p:cNvPr>
          <p:cNvCxnSpPr>
            <a:cxnSpLocks/>
          </p:cNvCxnSpPr>
          <p:nvPr/>
        </p:nvCxnSpPr>
        <p:spPr>
          <a:xfrm>
            <a:off x="7853648" y="4323241"/>
            <a:ext cx="0" cy="289364"/>
          </a:xfrm>
          <a:prstGeom prst="line">
            <a:avLst/>
          </a:prstGeom>
          <a:ln>
            <a:solidFill>
              <a:srgbClr val="FFC000"/>
            </a:solidFill>
            <a:prstDash val="dash"/>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697C89EA-B6ED-0848-9E7D-F56605463309}"/>
              </a:ext>
            </a:extLst>
          </p:cNvPr>
          <p:cNvSpPr txBox="1"/>
          <p:nvPr/>
        </p:nvSpPr>
        <p:spPr>
          <a:xfrm>
            <a:off x="7925905" y="4141918"/>
            <a:ext cx="818813" cy="400110"/>
          </a:xfrm>
          <a:prstGeom prst="rect">
            <a:avLst/>
          </a:prstGeom>
          <a:noFill/>
        </p:spPr>
        <p:txBody>
          <a:bodyPr wrap="square" rtlCol="0">
            <a:spAutoFit/>
          </a:bodyPr>
          <a:lstStyle/>
          <a:p>
            <a:r>
              <a:rPr lang="en-US" sz="2000" b="1" dirty="0">
                <a:solidFill>
                  <a:srgbClr val="F5CE24"/>
                </a:solidFill>
              </a:rPr>
              <a:t>2019</a:t>
            </a:r>
            <a:endParaRPr lang="en-GB" sz="2000" b="1" dirty="0">
              <a:solidFill>
                <a:srgbClr val="F5CE24"/>
              </a:solidFill>
            </a:endParaRPr>
          </a:p>
        </p:txBody>
      </p:sp>
      <p:sp>
        <p:nvSpPr>
          <p:cNvPr id="68" name="TextBox 67">
            <a:extLst>
              <a:ext uri="{FF2B5EF4-FFF2-40B4-BE49-F238E27FC236}">
                <a16:creationId xmlns:a16="http://schemas.microsoft.com/office/drawing/2014/main" id="{E4867EA9-3A7B-E148-B679-226E7A5CF181}"/>
              </a:ext>
            </a:extLst>
          </p:cNvPr>
          <p:cNvSpPr txBox="1"/>
          <p:nvPr/>
        </p:nvSpPr>
        <p:spPr>
          <a:xfrm>
            <a:off x="7924720" y="4416470"/>
            <a:ext cx="4263156" cy="307777"/>
          </a:xfrm>
          <a:prstGeom prst="rect">
            <a:avLst/>
          </a:prstGeom>
          <a:noFill/>
        </p:spPr>
        <p:txBody>
          <a:bodyPr wrap="square" rtlCol="0">
            <a:spAutoFit/>
          </a:bodyPr>
          <a:lstStyle/>
          <a:p>
            <a:r>
              <a:rPr lang="en-IN" sz="1400" dirty="0">
                <a:ea typeface="Lato Light" panose="020F0502020204030203" pitchFamily="34" charset="0"/>
                <a:cs typeface="Segoe UI Light" panose="020B0502040204020203" pitchFamily="34" charset="0"/>
              </a:rPr>
              <a:t>Standardize tools, best practices, and continuous testing</a:t>
            </a:r>
            <a:endParaRPr lang="en-US" sz="1400" dirty="0"/>
          </a:p>
        </p:txBody>
      </p:sp>
      <p:grpSp>
        <p:nvGrpSpPr>
          <p:cNvPr id="71" name="Group 70">
            <a:extLst>
              <a:ext uri="{FF2B5EF4-FFF2-40B4-BE49-F238E27FC236}">
                <a16:creationId xmlns:a16="http://schemas.microsoft.com/office/drawing/2014/main" id="{B66F5817-73AB-634D-BFDC-D56E075F29FF}"/>
              </a:ext>
            </a:extLst>
          </p:cNvPr>
          <p:cNvGrpSpPr/>
          <p:nvPr/>
        </p:nvGrpSpPr>
        <p:grpSpPr>
          <a:xfrm>
            <a:off x="2915773" y="1913271"/>
            <a:ext cx="629874" cy="1105084"/>
            <a:chOff x="1858629" y="1300465"/>
            <a:chExt cx="865521" cy="1637542"/>
          </a:xfrm>
        </p:grpSpPr>
        <p:grpSp>
          <p:nvGrpSpPr>
            <p:cNvPr id="72" name="Group 71">
              <a:extLst>
                <a:ext uri="{FF2B5EF4-FFF2-40B4-BE49-F238E27FC236}">
                  <a16:creationId xmlns:a16="http://schemas.microsoft.com/office/drawing/2014/main" id="{BADB2F45-AAA9-E849-A278-CDAC44491DAB}"/>
                </a:ext>
              </a:extLst>
            </p:cNvPr>
            <p:cNvGrpSpPr/>
            <p:nvPr/>
          </p:nvGrpSpPr>
          <p:grpSpPr>
            <a:xfrm>
              <a:off x="1858629" y="1300465"/>
              <a:ext cx="865521" cy="1637542"/>
              <a:chOff x="6940174" y="3246442"/>
              <a:chExt cx="1175340" cy="2223712"/>
            </a:xfrm>
          </p:grpSpPr>
          <p:grpSp>
            <p:nvGrpSpPr>
              <p:cNvPr id="74" name="Group 73">
                <a:extLst>
                  <a:ext uri="{FF2B5EF4-FFF2-40B4-BE49-F238E27FC236}">
                    <a16:creationId xmlns:a16="http://schemas.microsoft.com/office/drawing/2014/main" id="{BE3D015C-E09A-AA4C-916A-82B3CE01F715}"/>
                  </a:ext>
                </a:extLst>
              </p:cNvPr>
              <p:cNvGrpSpPr/>
              <p:nvPr/>
            </p:nvGrpSpPr>
            <p:grpSpPr>
              <a:xfrm>
                <a:off x="6940174" y="3246442"/>
                <a:ext cx="1175340" cy="2192500"/>
                <a:chOff x="5455241" y="1480656"/>
                <a:chExt cx="1517619" cy="2830995"/>
              </a:xfrm>
            </p:grpSpPr>
            <p:grpSp>
              <p:nvGrpSpPr>
                <p:cNvPr id="76" name="Group 75">
                  <a:extLst>
                    <a:ext uri="{FF2B5EF4-FFF2-40B4-BE49-F238E27FC236}">
                      <a16:creationId xmlns:a16="http://schemas.microsoft.com/office/drawing/2014/main" id="{5CCCF848-4996-A547-BED5-64AE4390F5A9}"/>
                    </a:ext>
                  </a:extLst>
                </p:cNvPr>
                <p:cNvGrpSpPr/>
                <p:nvPr/>
              </p:nvGrpSpPr>
              <p:grpSpPr>
                <a:xfrm>
                  <a:off x="6083422" y="2925441"/>
                  <a:ext cx="246291" cy="1386210"/>
                  <a:chOff x="2641600" y="3431522"/>
                  <a:chExt cx="246291" cy="2446764"/>
                </a:xfrm>
              </p:grpSpPr>
              <p:sp>
                <p:nvSpPr>
                  <p:cNvPr id="89" name="Rectangle 88">
                    <a:extLst>
                      <a:ext uri="{FF2B5EF4-FFF2-40B4-BE49-F238E27FC236}">
                        <a16:creationId xmlns:a16="http://schemas.microsoft.com/office/drawing/2014/main" id="{BE209A4C-215C-B840-A5EB-DB89BB7A7915}"/>
                      </a:ext>
                    </a:extLst>
                  </p:cNvPr>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585A8433-6F8F-6048-9E6F-043CA2D27B59}"/>
                      </a:ext>
                    </a:extLst>
                  </p:cNvPr>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7" name="Flowchart: Connector 111">
                  <a:extLst>
                    <a:ext uri="{FF2B5EF4-FFF2-40B4-BE49-F238E27FC236}">
                      <a16:creationId xmlns:a16="http://schemas.microsoft.com/office/drawing/2014/main" id="{3D084982-C82F-B149-B2A5-2FCC86F1CC7F}"/>
                    </a:ext>
                  </a:extLst>
                </p:cNvPr>
                <p:cNvSpPr/>
                <p:nvPr/>
              </p:nvSpPr>
              <p:spPr>
                <a:xfrm>
                  <a:off x="5455241" y="1480656"/>
                  <a:ext cx="1517619" cy="1517619"/>
                </a:xfrm>
                <a:prstGeom prst="flowChartConnector">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Flowchart: Connector 112">
                  <a:extLst>
                    <a:ext uri="{FF2B5EF4-FFF2-40B4-BE49-F238E27FC236}">
                      <a16:creationId xmlns:a16="http://schemas.microsoft.com/office/drawing/2014/main" id="{FF91CFAB-5C90-3C4F-A914-0C8E62825D97}"/>
                    </a:ext>
                  </a:extLst>
                </p:cNvPr>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5" name="Oval 74">
                <a:extLst>
                  <a:ext uri="{FF2B5EF4-FFF2-40B4-BE49-F238E27FC236}">
                    <a16:creationId xmlns:a16="http://schemas.microsoft.com/office/drawing/2014/main" id="{21068F9B-AEB6-6A42-9526-76D6C0FBA8C8}"/>
                  </a:ext>
                </a:extLst>
              </p:cNvPr>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3" name="Freeform 65">
              <a:extLst>
                <a:ext uri="{FF2B5EF4-FFF2-40B4-BE49-F238E27FC236}">
                  <a16:creationId xmlns:a16="http://schemas.microsoft.com/office/drawing/2014/main" id="{27C83BE5-9218-044C-B6AF-BF2AB0A6029F}"/>
                </a:ext>
              </a:extLst>
            </p:cNvPr>
            <p:cNvSpPr>
              <a:spLocks noChangeArrowheads="1"/>
            </p:cNvSpPr>
            <p:nvPr/>
          </p:nvSpPr>
          <p:spPr bwMode="auto">
            <a:xfrm>
              <a:off x="2165581" y="1606627"/>
              <a:ext cx="251615" cy="249500"/>
            </a:xfrm>
            <a:custGeom>
              <a:avLst/>
              <a:gdLst>
                <a:gd name="T0" fmla="*/ 172604 w 417"/>
                <a:gd name="T1" fmla="*/ 91192 h 417"/>
                <a:gd name="T2" fmla="*/ 172604 w 417"/>
                <a:gd name="T3" fmla="*/ 91192 h 417"/>
                <a:gd name="T4" fmla="*/ 188460 w 417"/>
                <a:gd name="T5" fmla="*/ 63340 h 417"/>
                <a:gd name="T6" fmla="*/ 184836 w 417"/>
                <a:gd name="T7" fmla="*/ 47617 h 417"/>
                <a:gd name="T8" fmla="*/ 152671 w 417"/>
                <a:gd name="T9" fmla="*/ 35488 h 417"/>
                <a:gd name="T10" fmla="*/ 144516 w 417"/>
                <a:gd name="T11" fmla="*/ 7637 h 417"/>
                <a:gd name="T12" fmla="*/ 124583 w 417"/>
                <a:gd name="T13" fmla="*/ 0 h 417"/>
                <a:gd name="T14" fmla="*/ 96495 w 417"/>
                <a:gd name="T15" fmla="*/ 15723 h 417"/>
                <a:gd name="T16" fmla="*/ 68407 w 417"/>
                <a:gd name="T17" fmla="*/ 0 h 417"/>
                <a:gd name="T18" fmla="*/ 48474 w 417"/>
                <a:gd name="T19" fmla="*/ 7637 h 417"/>
                <a:gd name="T20" fmla="*/ 40320 w 417"/>
                <a:gd name="T21" fmla="*/ 35488 h 417"/>
                <a:gd name="T22" fmla="*/ 8155 w 417"/>
                <a:gd name="T23" fmla="*/ 47617 h 417"/>
                <a:gd name="T24" fmla="*/ 0 w 417"/>
                <a:gd name="T25" fmla="*/ 63340 h 417"/>
                <a:gd name="T26" fmla="*/ 19933 w 417"/>
                <a:gd name="T27" fmla="*/ 91192 h 417"/>
                <a:gd name="T28" fmla="*/ 0 w 417"/>
                <a:gd name="T29" fmla="*/ 123536 h 417"/>
                <a:gd name="T30" fmla="*/ 8155 w 417"/>
                <a:gd name="T31" fmla="*/ 139258 h 417"/>
                <a:gd name="T32" fmla="*/ 40320 w 417"/>
                <a:gd name="T33" fmla="*/ 147344 h 417"/>
                <a:gd name="T34" fmla="*/ 48474 w 417"/>
                <a:gd name="T35" fmla="*/ 178790 h 417"/>
                <a:gd name="T36" fmla="*/ 68407 w 417"/>
                <a:gd name="T37" fmla="*/ 186876 h 417"/>
                <a:gd name="T38" fmla="*/ 96495 w 417"/>
                <a:gd name="T39" fmla="*/ 167110 h 417"/>
                <a:gd name="T40" fmla="*/ 124583 w 417"/>
                <a:gd name="T41" fmla="*/ 186876 h 417"/>
                <a:gd name="T42" fmla="*/ 144516 w 417"/>
                <a:gd name="T43" fmla="*/ 178790 h 417"/>
                <a:gd name="T44" fmla="*/ 152671 w 417"/>
                <a:gd name="T45" fmla="*/ 147344 h 417"/>
                <a:gd name="T46" fmla="*/ 184836 w 417"/>
                <a:gd name="T47" fmla="*/ 139258 h 417"/>
                <a:gd name="T48" fmla="*/ 188460 w 417"/>
                <a:gd name="T49" fmla="*/ 119043 h 417"/>
                <a:gd name="T50" fmla="*/ 172604 w 417"/>
                <a:gd name="T51" fmla="*/ 91192 h 417"/>
                <a:gd name="T52" fmla="*/ 96495 w 417"/>
                <a:gd name="T53" fmla="*/ 131172 h 417"/>
                <a:gd name="T54" fmla="*/ 96495 w 417"/>
                <a:gd name="T55" fmla="*/ 131172 h 417"/>
                <a:gd name="T56" fmla="*/ 56629 w 417"/>
                <a:gd name="T57" fmla="*/ 91192 h 417"/>
                <a:gd name="T58" fmla="*/ 96495 w 417"/>
                <a:gd name="T59" fmla="*/ 51660 h 417"/>
                <a:gd name="T60" fmla="*/ 136362 w 417"/>
                <a:gd name="T61" fmla="*/ 91192 h 417"/>
                <a:gd name="T62" fmla="*/ 96495 w 417"/>
                <a:gd name="T63" fmla="*/ 131172 h 4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17" h="417">
                  <a:moveTo>
                    <a:pt x="381" y="203"/>
                  </a:moveTo>
                  <a:lnTo>
                    <a:pt x="381" y="203"/>
                  </a:lnTo>
                  <a:cubicBezTo>
                    <a:pt x="381" y="177"/>
                    <a:pt x="399" y="159"/>
                    <a:pt x="416" y="141"/>
                  </a:cubicBezTo>
                  <a:cubicBezTo>
                    <a:pt x="416" y="132"/>
                    <a:pt x="408" y="115"/>
                    <a:pt x="408" y="106"/>
                  </a:cubicBezTo>
                  <a:cubicBezTo>
                    <a:pt x="372" y="115"/>
                    <a:pt x="354" y="97"/>
                    <a:pt x="337" y="79"/>
                  </a:cubicBezTo>
                  <a:cubicBezTo>
                    <a:pt x="319" y="62"/>
                    <a:pt x="310" y="44"/>
                    <a:pt x="319" y="17"/>
                  </a:cubicBezTo>
                  <a:cubicBezTo>
                    <a:pt x="310" y="9"/>
                    <a:pt x="293" y="0"/>
                    <a:pt x="275" y="0"/>
                  </a:cubicBezTo>
                  <a:cubicBezTo>
                    <a:pt x="266" y="17"/>
                    <a:pt x="240" y="35"/>
                    <a:pt x="213" y="35"/>
                  </a:cubicBezTo>
                  <a:cubicBezTo>
                    <a:pt x="187" y="35"/>
                    <a:pt x="160" y="17"/>
                    <a:pt x="151" y="0"/>
                  </a:cubicBezTo>
                  <a:cubicBezTo>
                    <a:pt x="133" y="0"/>
                    <a:pt x="116" y="9"/>
                    <a:pt x="107" y="17"/>
                  </a:cubicBezTo>
                  <a:cubicBezTo>
                    <a:pt x="116" y="44"/>
                    <a:pt x="107" y="62"/>
                    <a:pt x="89" y="79"/>
                  </a:cubicBezTo>
                  <a:cubicBezTo>
                    <a:pt x="72" y="97"/>
                    <a:pt x="44" y="115"/>
                    <a:pt x="18" y="106"/>
                  </a:cubicBezTo>
                  <a:cubicBezTo>
                    <a:pt x="18" y="115"/>
                    <a:pt x="9" y="132"/>
                    <a:pt x="0" y="141"/>
                  </a:cubicBezTo>
                  <a:cubicBezTo>
                    <a:pt x="27" y="159"/>
                    <a:pt x="44" y="177"/>
                    <a:pt x="44" y="203"/>
                  </a:cubicBezTo>
                  <a:cubicBezTo>
                    <a:pt x="44" y="230"/>
                    <a:pt x="27" y="256"/>
                    <a:pt x="0" y="275"/>
                  </a:cubicBezTo>
                  <a:cubicBezTo>
                    <a:pt x="9" y="283"/>
                    <a:pt x="18" y="301"/>
                    <a:pt x="18" y="310"/>
                  </a:cubicBezTo>
                  <a:cubicBezTo>
                    <a:pt x="44" y="310"/>
                    <a:pt x="72" y="310"/>
                    <a:pt x="89" y="328"/>
                  </a:cubicBezTo>
                  <a:cubicBezTo>
                    <a:pt x="107" y="345"/>
                    <a:pt x="116" y="372"/>
                    <a:pt x="107" y="398"/>
                  </a:cubicBezTo>
                  <a:cubicBezTo>
                    <a:pt x="116" y="407"/>
                    <a:pt x="133" y="407"/>
                    <a:pt x="151" y="416"/>
                  </a:cubicBezTo>
                  <a:cubicBezTo>
                    <a:pt x="160" y="389"/>
                    <a:pt x="187" y="372"/>
                    <a:pt x="213" y="372"/>
                  </a:cubicBezTo>
                  <a:cubicBezTo>
                    <a:pt x="240" y="372"/>
                    <a:pt x="266" y="389"/>
                    <a:pt x="275" y="416"/>
                  </a:cubicBezTo>
                  <a:cubicBezTo>
                    <a:pt x="293" y="407"/>
                    <a:pt x="310" y="407"/>
                    <a:pt x="319" y="398"/>
                  </a:cubicBezTo>
                  <a:cubicBezTo>
                    <a:pt x="310" y="372"/>
                    <a:pt x="319" y="345"/>
                    <a:pt x="337" y="328"/>
                  </a:cubicBezTo>
                  <a:cubicBezTo>
                    <a:pt x="354" y="310"/>
                    <a:pt x="372" y="301"/>
                    <a:pt x="408" y="310"/>
                  </a:cubicBezTo>
                  <a:cubicBezTo>
                    <a:pt x="408" y="292"/>
                    <a:pt x="416" y="283"/>
                    <a:pt x="416" y="265"/>
                  </a:cubicBezTo>
                  <a:cubicBezTo>
                    <a:pt x="399" y="256"/>
                    <a:pt x="381" y="230"/>
                    <a:pt x="381" y="203"/>
                  </a:cubicBezTo>
                  <a:close/>
                  <a:moveTo>
                    <a:pt x="213" y="292"/>
                  </a:moveTo>
                  <a:lnTo>
                    <a:pt x="213" y="292"/>
                  </a:lnTo>
                  <a:cubicBezTo>
                    <a:pt x="160" y="292"/>
                    <a:pt x="125" y="256"/>
                    <a:pt x="125" y="203"/>
                  </a:cubicBezTo>
                  <a:cubicBezTo>
                    <a:pt x="125" y="159"/>
                    <a:pt x="160" y="115"/>
                    <a:pt x="213" y="115"/>
                  </a:cubicBezTo>
                  <a:cubicBezTo>
                    <a:pt x="266" y="115"/>
                    <a:pt x="301" y="159"/>
                    <a:pt x="301" y="203"/>
                  </a:cubicBezTo>
                  <a:cubicBezTo>
                    <a:pt x="301" y="256"/>
                    <a:pt x="266" y="292"/>
                    <a:pt x="213" y="292"/>
                  </a:cubicBezTo>
                  <a:close/>
                </a:path>
              </a:pathLst>
            </a:custGeom>
            <a:solidFill>
              <a:srgbClr val="92D050"/>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grpSp>
      <p:grpSp>
        <p:nvGrpSpPr>
          <p:cNvPr id="107" name="Group 106">
            <a:extLst>
              <a:ext uri="{FF2B5EF4-FFF2-40B4-BE49-F238E27FC236}">
                <a16:creationId xmlns:a16="http://schemas.microsoft.com/office/drawing/2014/main" id="{7956C440-C350-314C-B453-8F938CA1C479}"/>
              </a:ext>
            </a:extLst>
          </p:cNvPr>
          <p:cNvGrpSpPr/>
          <p:nvPr/>
        </p:nvGrpSpPr>
        <p:grpSpPr>
          <a:xfrm>
            <a:off x="2915773" y="1913271"/>
            <a:ext cx="629874" cy="1105084"/>
            <a:chOff x="1858629" y="1300465"/>
            <a:chExt cx="865521" cy="1637542"/>
          </a:xfrm>
        </p:grpSpPr>
        <p:grpSp>
          <p:nvGrpSpPr>
            <p:cNvPr id="117" name="Group 116">
              <a:extLst>
                <a:ext uri="{FF2B5EF4-FFF2-40B4-BE49-F238E27FC236}">
                  <a16:creationId xmlns:a16="http://schemas.microsoft.com/office/drawing/2014/main" id="{17F3A5D8-55F6-4146-B8B3-4176A6898A33}"/>
                </a:ext>
              </a:extLst>
            </p:cNvPr>
            <p:cNvGrpSpPr/>
            <p:nvPr/>
          </p:nvGrpSpPr>
          <p:grpSpPr>
            <a:xfrm>
              <a:off x="1858629" y="1300465"/>
              <a:ext cx="865521" cy="1637542"/>
              <a:chOff x="6940174" y="3246442"/>
              <a:chExt cx="1175340" cy="2223712"/>
            </a:xfrm>
          </p:grpSpPr>
          <p:grpSp>
            <p:nvGrpSpPr>
              <p:cNvPr id="125" name="Group 124">
                <a:extLst>
                  <a:ext uri="{FF2B5EF4-FFF2-40B4-BE49-F238E27FC236}">
                    <a16:creationId xmlns:a16="http://schemas.microsoft.com/office/drawing/2014/main" id="{C5A9D96F-E455-A94A-810D-BDFBD73BB95D}"/>
                  </a:ext>
                </a:extLst>
              </p:cNvPr>
              <p:cNvGrpSpPr/>
              <p:nvPr/>
            </p:nvGrpSpPr>
            <p:grpSpPr>
              <a:xfrm>
                <a:off x="6940174" y="3246442"/>
                <a:ext cx="1175340" cy="2192500"/>
                <a:chOff x="5455241" y="1480656"/>
                <a:chExt cx="1517619" cy="2830995"/>
              </a:xfrm>
            </p:grpSpPr>
            <p:grpSp>
              <p:nvGrpSpPr>
                <p:cNvPr id="127" name="Group 126">
                  <a:extLst>
                    <a:ext uri="{FF2B5EF4-FFF2-40B4-BE49-F238E27FC236}">
                      <a16:creationId xmlns:a16="http://schemas.microsoft.com/office/drawing/2014/main" id="{6BFFE787-D91C-0F4C-82DB-0E379C22B919}"/>
                    </a:ext>
                  </a:extLst>
                </p:cNvPr>
                <p:cNvGrpSpPr/>
                <p:nvPr/>
              </p:nvGrpSpPr>
              <p:grpSpPr>
                <a:xfrm>
                  <a:off x="6083422" y="2925441"/>
                  <a:ext cx="246291" cy="1386210"/>
                  <a:chOff x="2641600" y="3431522"/>
                  <a:chExt cx="246291" cy="2446764"/>
                </a:xfrm>
              </p:grpSpPr>
              <p:sp>
                <p:nvSpPr>
                  <p:cNvPr id="131" name="Rectangle 130">
                    <a:extLst>
                      <a:ext uri="{FF2B5EF4-FFF2-40B4-BE49-F238E27FC236}">
                        <a16:creationId xmlns:a16="http://schemas.microsoft.com/office/drawing/2014/main" id="{CE9C0460-9442-1E4C-AA34-381364F60015}"/>
                      </a:ext>
                    </a:extLst>
                  </p:cNvPr>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E4927608-DC65-044E-BBA1-CE7605A27562}"/>
                      </a:ext>
                    </a:extLst>
                  </p:cNvPr>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9" name="Flowchart: Connector 111">
                  <a:extLst>
                    <a:ext uri="{FF2B5EF4-FFF2-40B4-BE49-F238E27FC236}">
                      <a16:creationId xmlns:a16="http://schemas.microsoft.com/office/drawing/2014/main" id="{20ADFBCB-0718-BE4B-A5EB-5A61358B7B57}"/>
                    </a:ext>
                  </a:extLst>
                </p:cNvPr>
                <p:cNvSpPr/>
                <p:nvPr/>
              </p:nvSpPr>
              <p:spPr>
                <a:xfrm>
                  <a:off x="5455241" y="1480656"/>
                  <a:ext cx="1517619" cy="1517619"/>
                </a:xfrm>
                <a:prstGeom prst="flowChartConnector">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Flowchart: Connector 112">
                  <a:extLst>
                    <a:ext uri="{FF2B5EF4-FFF2-40B4-BE49-F238E27FC236}">
                      <a16:creationId xmlns:a16="http://schemas.microsoft.com/office/drawing/2014/main" id="{1493089B-753B-D943-BB33-0E4E1FB3E9AC}"/>
                    </a:ext>
                  </a:extLst>
                </p:cNvPr>
                <p:cNvSpPr/>
                <p:nvPr/>
              </p:nvSpPr>
              <p:spPr>
                <a:xfrm>
                  <a:off x="5563817" y="1589233"/>
                  <a:ext cx="1300468"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6" name="Oval 125">
                <a:extLst>
                  <a:ext uri="{FF2B5EF4-FFF2-40B4-BE49-F238E27FC236}">
                    <a16:creationId xmlns:a16="http://schemas.microsoft.com/office/drawing/2014/main" id="{0EDB5A43-A8FE-1849-B2E1-8F95AB9BF101}"/>
                  </a:ext>
                </a:extLst>
              </p:cNvPr>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1" name="Freeform 65">
              <a:extLst>
                <a:ext uri="{FF2B5EF4-FFF2-40B4-BE49-F238E27FC236}">
                  <a16:creationId xmlns:a16="http://schemas.microsoft.com/office/drawing/2014/main" id="{4FEEE1D9-7722-2F4B-9DCF-040165B10AAA}"/>
                </a:ext>
              </a:extLst>
            </p:cNvPr>
            <p:cNvSpPr>
              <a:spLocks noChangeArrowheads="1"/>
            </p:cNvSpPr>
            <p:nvPr/>
          </p:nvSpPr>
          <p:spPr bwMode="auto">
            <a:xfrm>
              <a:off x="2165581" y="1606627"/>
              <a:ext cx="251615" cy="249500"/>
            </a:xfrm>
            <a:custGeom>
              <a:avLst/>
              <a:gdLst>
                <a:gd name="T0" fmla="*/ 172604 w 417"/>
                <a:gd name="T1" fmla="*/ 91192 h 417"/>
                <a:gd name="T2" fmla="*/ 172604 w 417"/>
                <a:gd name="T3" fmla="*/ 91192 h 417"/>
                <a:gd name="T4" fmla="*/ 188460 w 417"/>
                <a:gd name="T5" fmla="*/ 63340 h 417"/>
                <a:gd name="T6" fmla="*/ 184836 w 417"/>
                <a:gd name="T7" fmla="*/ 47617 h 417"/>
                <a:gd name="T8" fmla="*/ 152671 w 417"/>
                <a:gd name="T9" fmla="*/ 35488 h 417"/>
                <a:gd name="T10" fmla="*/ 144516 w 417"/>
                <a:gd name="T11" fmla="*/ 7637 h 417"/>
                <a:gd name="T12" fmla="*/ 124583 w 417"/>
                <a:gd name="T13" fmla="*/ 0 h 417"/>
                <a:gd name="T14" fmla="*/ 96495 w 417"/>
                <a:gd name="T15" fmla="*/ 15723 h 417"/>
                <a:gd name="T16" fmla="*/ 68407 w 417"/>
                <a:gd name="T17" fmla="*/ 0 h 417"/>
                <a:gd name="T18" fmla="*/ 48474 w 417"/>
                <a:gd name="T19" fmla="*/ 7637 h 417"/>
                <a:gd name="T20" fmla="*/ 40320 w 417"/>
                <a:gd name="T21" fmla="*/ 35488 h 417"/>
                <a:gd name="T22" fmla="*/ 8155 w 417"/>
                <a:gd name="T23" fmla="*/ 47617 h 417"/>
                <a:gd name="T24" fmla="*/ 0 w 417"/>
                <a:gd name="T25" fmla="*/ 63340 h 417"/>
                <a:gd name="T26" fmla="*/ 19933 w 417"/>
                <a:gd name="T27" fmla="*/ 91192 h 417"/>
                <a:gd name="T28" fmla="*/ 0 w 417"/>
                <a:gd name="T29" fmla="*/ 123536 h 417"/>
                <a:gd name="T30" fmla="*/ 8155 w 417"/>
                <a:gd name="T31" fmla="*/ 139258 h 417"/>
                <a:gd name="T32" fmla="*/ 40320 w 417"/>
                <a:gd name="T33" fmla="*/ 147344 h 417"/>
                <a:gd name="T34" fmla="*/ 48474 w 417"/>
                <a:gd name="T35" fmla="*/ 178790 h 417"/>
                <a:gd name="T36" fmla="*/ 68407 w 417"/>
                <a:gd name="T37" fmla="*/ 186876 h 417"/>
                <a:gd name="T38" fmla="*/ 96495 w 417"/>
                <a:gd name="T39" fmla="*/ 167110 h 417"/>
                <a:gd name="T40" fmla="*/ 124583 w 417"/>
                <a:gd name="T41" fmla="*/ 186876 h 417"/>
                <a:gd name="T42" fmla="*/ 144516 w 417"/>
                <a:gd name="T43" fmla="*/ 178790 h 417"/>
                <a:gd name="T44" fmla="*/ 152671 w 417"/>
                <a:gd name="T45" fmla="*/ 147344 h 417"/>
                <a:gd name="T46" fmla="*/ 184836 w 417"/>
                <a:gd name="T47" fmla="*/ 139258 h 417"/>
                <a:gd name="T48" fmla="*/ 188460 w 417"/>
                <a:gd name="T49" fmla="*/ 119043 h 417"/>
                <a:gd name="T50" fmla="*/ 172604 w 417"/>
                <a:gd name="T51" fmla="*/ 91192 h 417"/>
                <a:gd name="T52" fmla="*/ 96495 w 417"/>
                <a:gd name="T53" fmla="*/ 131172 h 417"/>
                <a:gd name="T54" fmla="*/ 96495 w 417"/>
                <a:gd name="T55" fmla="*/ 131172 h 417"/>
                <a:gd name="T56" fmla="*/ 56629 w 417"/>
                <a:gd name="T57" fmla="*/ 91192 h 417"/>
                <a:gd name="T58" fmla="*/ 96495 w 417"/>
                <a:gd name="T59" fmla="*/ 51660 h 417"/>
                <a:gd name="T60" fmla="*/ 136362 w 417"/>
                <a:gd name="T61" fmla="*/ 91192 h 417"/>
                <a:gd name="T62" fmla="*/ 96495 w 417"/>
                <a:gd name="T63" fmla="*/ 131172 h 41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17" h="417">
                  <a:moveTo>
                    <a:pt x="381" y="203"/>
                  </a:moveTo>
                  <a:lnTo>
                    <a:pt x="381" y="203"/>
                  </a:lnTo>
                  <a:cubicBezTo>
                    <a:pt x="381" y="177"/>
                    <a:pt x="399" y="159"/>
                    <a:pt x="416" y="141"/>
                  </a:cubicBezTo>
                  <a:cubicBezTo>
                    <a:pt x="416" y="132"/>
                    <a:pt x="408" y="115"/>
                    <a:pt x="408" y="106"/>
                  </a:cubicBezTo>
                  <a:cubicBezTo>
                    <a:pt x="372" y="115"/>
                    <a:pt x="354" y="97"/>
                    <a:pt x="337" y="79"/>
                  </a:cubicBezTo>
                  <a:cubicBezTo>
                    <a:pt x="319" y="62"/>
                    <a:pt x="310" y="44"/>
                    <a:pt x="319" y="17"/>
                  </a:cubicBezTo>
                  <a:cubicBezTo>
                    <a:pt x="310" y="9"/>
                    <a:pt x="293" y="0"/>
                    <a:pt x="275" y="0"/>
                  </a:cubicBezTo>
                  <a:cubicBezTo>
                    <a:pt x="266" y="17"/>
                    <a:pt x="240" y="35"/>
                    <a:pt x="213" y="35"/>
                  </a:cubicBezTo>
                  <a:cubicBezTo>
                    <a:pt x="187" y="35"/>
                    <a:pt x="160" y="17"/>
                    <a:pt x="151" y="0"/>
                  </a:cubicBezTo>
                  <a:cubicBezTo>
                    <a:pt x="133" y="0"/>
                    <a:pt x="116" y="9"/>
                    <a:pt x="107" y="17"/>
                  </a:cubicBezTo>
                  <a:cubicBezTo>
                    <a:pt x="116" y="44"/>
                    <a:pt x="107" y="62"/>
                    <a:pt x="89" y="79"/>
                  </a:cubicBezTo>
                  <a:cubicBezTo>
                    <a:pt x="72" y="97"/>
                    <a:pt x="44" y="115"/>
                    <a:pt x="18" y="106"/>
                  </a:cubicBezTo>
                  <a:cubicBezTo>
                    <a:pt x="18" y="115"/>
                    <a:pt x="9" y="132"/>
                    <a:pt x="0" y="141"/>
                  </a:cubicBezTo>
                  <a:cubicBezTo>
                    <a:pt x="27" y="159"/>
                    <a:pt x="44" y="177"/>
                    <a:pt x="44" y="203"/>
                  </a:cubicBezTo>
                  <a:cubicBezTo>
                    <a:pt x="44" y="230"/>
                    <a:pt x="27" y="256"/>
                    <a:pt x="0" y="275"/>
                  </a:cubicBezTo>
                  <a:cubicBezTo>
                    <a:pt x="9" y="283"/>
                    <a:pt x="18" y="301"/>
                    <a:pt x="18" y="310"/>
                  </a:cubicBezTo>
                  <a:cubicBezTo>
                    <a:pt x="44" y="310"/>
                    <a:pt x="72" y="310"/>
                    <a:pt x="89" y="328"/>
                  </a:cubicBezTo>
                  <a:cubicBezTo>
                    <a:pt x="107" y="345"/>
                    <a:pt x="116" y="372"/>
                    <a:pt x="107" y="398"/>
                  </a:cubicBezTo>
                  <a:cubicBezTo>
                    <a:pt x="116" y="407"/>
                    <a:pt x="133" y="407"/>
                    <a:pt x="151" y="416"/>
                  </a:cubicBezTo>
                  <a:cubicBezTo>
                    <a:pt x="160" y="389"/>
                    <a:pt x="187" y="372"/>
                    <a:pt x="213" y="372"/>
                  </a:cubicBezTo>
                  <a:cubicBezTo>
                    <a:pt x="240" y="372"/>
                    <a:pt x="266" y="389"/>
                    <a:pt x="275" y="416"/>
                  </a:cubicBezTo>
                  <a:cubicBezTo>
                    <a:pt x="293" y="407"/>
                    <a:pt x="310" y="407"/>
                    <a:pt x="319" y="398"/>
                  </a:cubicBezTo>
                  <a:cubicBezTo>
                    <a:pt x="310" y="372"/>
                    <a:pt x="319" y="345"/>
                    <a:pt x="337" y="328"/>
                  </a:cubicBezTo>
                  <a:cubicBezTo>
                    <a:pt x="354" y="310"/>
                    <a:pt x="372" y="301"/>
                    <a:pt x="408" y="310"/>
                  </a:cubicBezTo>
                  <a:cubicBezTo>
                    <a:pt x="408" y="292"/>
                    <a:pt x="416" y="283"/>
                    <a:pt x="416" y="265"/>
                  </a:cubicBezTo>
                  <a:cubicBezTo>
                    <a:pt x="399" y="256"/>
                    <a:pt x="381" y="230"/>
                    <a:pt x="381" y="203"/>
                  </a:cubicBezTo>
                  <a:close/>
                  <a:moveTo>
                    <a:pt x="213" y="292"/>
                  </a:moveTo>
                  <a:lnTo>
                    <a:pt x="213" y="292"/>
                  </a:lnTo>
                  <a:cubicBezTo>
                    <a:pt x="160" y="292"/>
                    <a:pt x="125" y="256"/>
                    <a:pt x="125" y="203"/>
                  </a:cubicBezTo>
                  <a:cubicBezTo>
                    <a:pt x="125" y="159"/>
                    <a:pt x="160" y="115"/>
                    <a:pt x="213" y="115"/>
                  </a:cubicBezTo>
                  <a:cubicBezTo>
                    <a:pt x="266" y="115"/>
                    <a:pt x="301" y="159"/>
                    <a:pt x="301" y="203"/>
                  </a:cubicBezTo>
                  <a:cubicBezTo>
                    <a:pt x="301" y="256"/>
                    <a:pt x="266" y="292"/>
                    <a:pt x="213" y="292"/>
                  </a:cubicBezTo>
                  <a:close/>
                </a:path>
              </a:pathLst>
            </a:custGeom>
            <a:solidFill>
              <a:srgbClr val="92D050"/>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endParaRPr lang="en-US" dirty="0"/>
            </a:p>
          </p:txBody>
        </p:sp>
      </p:grpSp>
      <p:cxnSp>
        <p:nvCxnSpPr>
          <p:cNvPr id="133" name="Straight Connector 132">
            <a:extLst>
              <a:ext uri="{FF2B5EF4-FFF2-40B4-BE49-F238E27FC236}">
                <a16:creationId xmlns:a16="http://schemas.microsoft.com/office/drawing/2014/main" id="{97C35B88-8C88-C245-8B68-384E77EBB2E4}"/>
              </a:ext>
            </a:extLst>
          </p:cNvPr>
          <p:cNvCxnSpPr>
            <a:cxnSpLocks/>
          </p:cNvCxnSpPr>
          <p:nvPr/>
        </p:nvCxnSpPr>
        <p:spPr>
          <a:xfrm>
            <a:off x="7853648" y="5101403"/>
            <a:ext cx="0" cy="289364"/>
          </a:xfrm>
          <a:prstGeom prst="line">
            <a:avLst/>
          </a:prstGeom>
          <a:ln>
            <a:solidFill>
              <a:srgbClr val="92D050"/>
            </a:solidFill>
            <a:prstDash val="dash"/>
          </a:ln>
        </p:spPr>
        <p:style>
          <a:lnRef idx="1">
            <a:schemeClr val="accent1"/>
          </a:lnRef>
          <a:fillRef idx="0">
            <a:schemeClr val="accent1"/>
          </a:fillRef>
          <a:effectRef idx="0">
            <a:schemeClr val="accent1"/>
          </a:effectRef>
          <a:fontRef idx="minor">
            <a:schemeClr val="tx1"/>
          </a:fontRef>
        </p:style>
      </p:cxnSp>
      <p:sp>
        <p:nvSpPr>
          <p:cNvPr id="134" name="TextBox 133">
            <a:extLst>
              <a:ext uri="{FF2B5EF4-FFF2-40B4-BE49-F238E27FC236}">
                <a16:creationId xmlns:a16="http://schemas.microsoft.com/office/drawing/2014/main" id="{57AC3106-2C93-284A-8220-EC9278DAE979}"/>
              </a:ext>
            </a:extLst>
          </p:cNvPr>
          <p:cNvSpPr txBox="1"/>
          <p:nvPr/>
        </p:nvSpPr>
        <p:spPr>
          <a:xfrm>
            <a:off x="7925905" y="4920080"/>
            <a:ext cx="818813" cy="400110"/>
          </a:xfrm>
          <a:prstGeom prst="rect">
            <a:avLst/>
          </a:prstGeom>
          <a:noFill/>
        </p:spPr>
        <p:txBody>
          <a:bodyPr wrap="square" rtlCol="0">
            <a:spAutoFit/>
          </a:bodyPr>
          <a:lstStyle/>
          <a:p>
            <a:r>
              <a:rPr lang="en-US" sz="2000" b="1" dirty="0">
                <a:solidFill>
                  <a:srgbClr val="92D050"/>
                </a:solidFill>
              </a:rPr>
              <a:t>2020</a:t>
            </a:r>
            <a:endParaRPr lang="en-GB" sz="2000" b="1" dirty="0">
              <a:solidFill>
                <a:srgbClr val="92D050"/>
              </a:solidFill>
            </a:endParaRPr>
          </a:p>
        </p:txBody>
      </p:sp>
      <p:sp>
        <p:nvSpPr>
          <p:cNvPr id="135" name="TextBox 134">
            <a:extLst>
              <a:ext uri="{FF2B5EF4-FFF2-40B4-BE49-F238E27FC236}">
                <a16:creationId xmlns:a16="http://schemas.microsoft.com/office/drawing/2014/main" id="{DFA96B19-EA6F-A741-A2F5-69AF7A61E91C}"/>
              </a:ext>
            </a:extLst>
          </p:cNvPr>
          <p:cNvSpPr txBox="1"/>
          <p:nvPr/>
        </p:nvSpPr>
        <p:spPr>
          <a:xfrm>
            <a:off x="7924720" y="5194632"/>
            <a:ext cx="4567953" cy="307777"/>
          </a:xfrm>
          <a:prstGeom prst="rect">
            <a:avLst/>
          </a:prstGeom>
          <a:noFill/>
        </p:spPr>
        <p:txBody>
          <a:bodyPr wrap="square" rtlCol="0">
            <a:spAutoFit/>
          </a:bodyPr>
          <a:lstStyle/>
          <a:p>
            <a:r>
              <a:rPr lang="en-US" sz="1400" dirty="0"/>
              <a:t>Mature in automated testing within our enterprise</a:t>
            </a:r>
          </a:p>
        </p:txBody>
      </p:sp>
      <p:cxnSp>
        <p:nvCxnSpPr>
          <p:cNvPr id="108" name="Straight Connector 107">
            <a:extLst>
              <a:ext uri="{FF2B5EF4-FFF2-40B4-BE49-F238E27FC236}">
                <a16:creationId xmlns:a16="http://schemas.microsoft.com/office/drawing/2014/main" id="{FDDF04D8-8B35-824C-8DF9-3B3CA4927F98}"/>
              </a:ext>
            </a:extLst>
          </p:cNvPr>
          <p:cNvCxnSpPr>
            <a:cxnSpLocks/>
          </p:cNvCxnSpPr>
          <p:nvPr/>
        </p:nvCxnSpPr>
        <p:spPr>
          <a:xfrm>
            <a:off x="7853648" y="5958284"/>
            <a:ext cx="0" cy="289364"/>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7CA403DE-F64C-144B-B926-61795409E14B}"/>
              </a:ext>
            </a:extLst>
          </p:cNvPr>
          <p:cNvSpPr txBox="1"/>
          <p:nvPr/>
        </p:nvSpPr>
        <p:spPr>
          <a:xfrm>
            <a:off x="7925905" y="5776961"/>
            <a:ext cx="818813" cy="400110"/>
          </a:xfrm>
          <a:prstGeom prst="rect">
            <a:avLst/>
          </a:prstGeom>
          <a:noFill/>
        </p:spPr>
        <p:txBody>
          <a:bodyPr wrap="square" rtlCol="0">
            <a:spAutoFit/>
          </a:bodyPr>
          <a:lstStyle/>
          <a:p>
            <a:r>
              <a:rPr lang="en-US" sz="2000" b="1" dirty="0">
                <a:solidFill>
                  <a:srgbClr val="00B050"/>
                </a:solidFill>
              </a:rPr>
              <a:t>2021</a:t>
            </a:r>
            <a:endParaRPr lang="en-GB" sz="2000" b="1" dirty="0">
              <a:solidFill>
                <a:srgbClr val="00B050"/>
              </a:solidFill>
            </a:endParaRPr>
          </a:p>
        </p:txBody>
      </p:sp>
      <p:sp>
        <p:nvSpPr>
          <p:cNvPr id="110" name="TextBox 109">
            <a:extLst>
              <a:ext uri="{FF2B5EF4-FFF2-40B4-BE49-F238E27FC236}">
                <a16:creationId xmlns:a16="http://schemas.microsoft.com/office/drawing/2014/main" id="{C6AC9620-FCBA-7A47-AF84-3E52C0021144}"/>
              </a:ext>
            </a:extLst>
          </p:cNvPr>
          <p:cNvSpPr txBox="1"/>
          <p:nvPr/>
        </p:nvSpPr>
        <p:spPr>
          <a:xfrm>
            <a:off x="7924720" y="6051513"/>
            <a:ext cx="3709745" cy="307777"/>
          </a:xfrm>
          <a:prstGeom prst="rect">
            <a:avLst/>
          </a:prstGeom>
          <a:noFill/>
        </p:spPr>
        <p:txBody>
          <a:bodyPr wrap="square" rtlCol="0">
            <a:spAutoFit/>
          </a:bodyPr>
          <a:lstStyle/>
          <a:p>
            <a:r>
              <a:rPr lang="en-US" sz="1400" dirty="0"/>
              <a:t>Widespread adoption &amp; metrics</a:t>
            </a:r>
          </a:p>
        </p:txBody>
      </p:sp>
      <p:grpSp>
        <p:nvGrpSpPr>
          <p:cNvPr id="111" name="Group 110">
            <a:extLst>
              <a:ext uri="{FF2B5EF4-FFF2-40B4-BE49-F238E27FC236}">
                <a16:creationId xmlns:a16="http://schemas.microsoft.com/office/drawing/2014/main" id="{BB3E9FB4-3F0C-8040-A4D1-C2449ED6359D}"/>
              </a:ext>
            </a:extLst>
          </p:cNvPr>
          <p:cNvGrpSpPr/>
          <p:nvPr/>
        </p:nvGrpSpPr>
        <p:grpSpPr>
          <a:xfrm>
            <a:off x="154738" y="1805110"/>
            <a:ext cx="477793" cy="877964"/>
            <a:chOff x="6940174" y="3246442"/>
            <a:chExt cx="1175340" cy="2223712"/>
          </a:xfrm>
        </p:grpSpPr>
        <p:grpSp>
          <p:nvGrpSpPr>
            <p:cNvPr id="112" name="Group 111">
              <a:extLst>
                <a:ext uri="{FF2B5EF4-FFF2-40B4-BE49-F238E27FC236}">
                  <a16:creationId xmlns:a16="http://schemas.microsoft.com/office/drawing/2014/main" id="{F99ACF4D-9633-EF4E-B5C4-F4CAF9A31CF8}"/>
                </a:ext>
              </a:extLst>
            </p:cNvPr>
            <p:cNvGrpSpPr/>
            <p:nvPr/>
          </p:nvGrpSpPr>
          <p:grpSpPr>
            <a:xfrm>
              <a:off x="6940174" y="3246442"/>
              <a:ext cx="1175340" cy="2192500"/>
              <a:chOff x="5455241" y="1480656"/>
              <a:chExt cx="1517619" cy="2830995"/>
            </a:xfrm>
          </p:grpSpPr>
          <p:grpSp>
            <p:nvGrpSpPr>
              <p:cNvPr id="114" name="Group 113">
                <a:extLst>
                  <a:ext uri="{FF2B5EF4-FFF2-40B4-BE49-F238E27FC236}">
                    <a16:creationId xmlns:a16="http://schemas.microsoft.com/office/drawing/2014/main" id="{CE7D7ADF-4707-394F-88FE-CE8BA2C12F51}"/>
                  </a:ext>
                </a:extLst>
              </p:cNvPr>
              <p:cNvGrpSpPr/>
              <p:nvPr/>
            </p:nvGrpSpPr>
            <p:grpSpPr>
              <a:xfrm>
                <a:off x="6083422" y="2925441"/>
                <a:ext cx="246291" cy="1386210"/>
                <a:chOff x="2641600" y="3431522"/>
                <a:chExt cx="246291" cy="2446764"/>
              </a:xfrm>
            </p:grpSpPr>
            <p:sp>
              <p:nvSpPr>
                <p:cNvPr id="120" name="Rectangle 119">
                  <a:extLst>
                    <a:ext uri="{FF2B5EF4-FFF2-40B4-BE49-F238E27FC236}">
                      <a16:creationId xmlns:a16="http://schemas.microsoft.com/office/drawing/2014/main" id="{C24F902A-930C-8749-9632-A1A5EBC71FC2}"/>
                    </a:ext>
                  </a:extLst>
                </p:cNvPr>
                <p:cNvSpPr/>
                <p:nvPr/>
              </p:nvSpPr>
              <p:spPr>
                <a:xfrm>
                  <a:off x="2641600" y="3431522"/>
                  <a:ext cx="130629" cy="24467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B0A60C89-BC39-BA44-B7ED-3CDDEB0115BF}"/>
                    </a:ext>
                  </a:extLst>
                </p:cNvPr>
                <p:cNvSpPr/>
                <p:nvPr/>
              </p:nvSpPr>
              <p:spPr>
                <a:xfrm>
                  <a:off x="2757262" y="3431522"/>
                  <a:ext cx="130629" cy="244676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5" name="Flowchart: Connector 111">
                <a:extLst>
                  <a:ext uri="{FF2B5EF4-FFF2-40B4-BE49-F238E27FC236}">
                    <a16:creationId xmlns:a16="http://schemas.microsoft.com/office/drawing/2014/main" id="{FF9AD5FC-D912-DA46-9355-29C43ECCD08E}"/>
                  </a:ext>
                </a:extLst>
              </p:cNvPr>
              <p:cNvSpPr/>
              <p:nvPr/>
            </p:nvSpPr>
            <p:spPr>
              <a:xfrm>
                <a:off x="5455241" y="1480656"/>
                <a:ext cx="1517619" cy="1517619"/>
              </a:xfrm>
              <a:prstGeom prst="flowChartConnector">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Flowchart: Connector 112">
                <a:extLst>
                  <a:ext uri="{FF2B5EF4-FFF2-40B4-BE49-F238E27FC236}">
                    <a16:creationId xmlns:a16="http://schemas.microsoft.com/office/drawing/2014/main" id="{5C58C5C9-A320-8543-8C6F-B8CF79A6AE12}"/>
                  </a:ext>
                </a:extLst>
              </p:cNvPr>
              <p:cNvSpPr/>
              <p:nvPr/>
            </p:nvSpPr>
            <p:spPr>
              <a:xfrm>
                <a:off x="5563814" y="1588406"/>
                <a:ext cx="1300467" cy="1300466"/>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3" name="Oval 112">
              <a:extLst>
                <a:ext uri="{FF2B5EF4-FFF2-40B4-BE49-F238E27FC236}">
                  <a16:creationId xmlns:a16="http://schemas.microsoft.com/office/drawing/2014/main" id="{324B62CF-FBFD-4942-BED6-775F20C50813}"/>
                </a:ext>
              </a:extLst>
            </p:cNvPr>
            <p:cNvSpPr/>
            <p:nvPr/>
          </p:nvSpPr>
          <p:spPr>
            <a:xfrm>
              <a:off x="7164865" y="5422243"/>
              <a:ext cx="725958" cy="47911"/>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23" name="Graphic 122" descr="Cheers outline">
            <a:extLst>
              <a:ext uri="{FF2B5EF4-FFF2-40B4-BE49-F238E27FC236}">
                <a16:creationId xmlns:a16="http://schemas.microsoft.com/office/drawing/2014/main" id="{627847CA-34FF-CE4A-8FF3-42EDECB49D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11054" y="1878158"/>
            <a:ext cx="344956" cy="344956"/>
          </a:xfrm>
          <a:prstGeom prst="rect">
            <a:avLst/>
          </a:prstGeom>
        </p:spPr>
      </p:pic>
    </p:spTree>
    <p:extLst>
      <p:ext uri="{BB962C8B-B14F-4D97-AF65-F5344CB8AC3E}">
        <p14:creationId xmlns:p14="http://schemas.microsoft.com/office/powerpoint/2010/main" val="3677145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063</TotalTime>
  <Words>4002</Words>
  <Application>Microsoft Macintosh PowerPoint</Application>
  <PresentationFormat>Widescreen</PresentationFormat>
  <Paragraphs>369</Paragraphs>
  <Slides>20</Slides>
  <Notes>1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Calibri Light</vt:lpstr>
      <vt:lpstr>Roboto Black</vt:lpstr>
      <vt:lpstr>Segoe UI</vt:lpstr>
      <vt:lpstr>Office Theme</vt:lpstr>
      <vt:lpstr>think-cell Slide</vt:lpstr>
      <vt:lpstr>PowerPoint Presentation</vt:lpstr>
      <vt:lpstr>Lisa Walsh Software Quality Manager www.lisa-walsh.com</vt:lpstr>
      <vt:lpstr>Let’s take a trip down…  2017</vt:lpstr>
      <vt:lpstr>Challeng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Value to organization</vt:lpstr>
      <vt:lpstr>To Infinity and Beyond…  2021</vt:lpstr>
      <vt:lpstr>Tips for…</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sa Walsh</dc:creator>
  <cp:lastModifiedBy>Lisa Walsh</cp:lastModifiedBy>
  <cp:revision>262</cp:revision>
  <dcterms:created xsi:type="dcterms:W3CDTF">2021-02-11T14:25:22Z</dcterms:created>
  <dcterms:modified xsi:type="dcterms:W3CDTF">2022-11-11T20:03:36Z</dcterms:modified>
</cp:coreProperties>
</file>